
<file path=[Content_Types].xml><?xml version="1.0" encoding="utf-8"?>
<Types xmlns="http://schemas.openxmlformats.org/package/2006/content-types">
  <Default Extension="jpg" ContentType="image/jpeg"/>
  <Default Extension="svg" ContentType="image/svg+xml"/>
  <Default Extension="emf" ContentType="image/x-emf"/>
  <Default Extension="jpeg" ContentType="image/jpeg"/>
  <Default Extension="xml" ContentType="application/xml"/>
  <Default Extension="mp4" ContentType="video/mp4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32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7.xml" ContentType="application/vnd.openxmlformats-officedocument.theme+xml"/>
  <Override PartName="/ppt/tags/tag33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70" r:id="rId2"/>
    <p:sldMasterId id="2147483716" r:id="rId3"/>
    <p:sldMasterId id="2147483740" r:id="rId4"/>
    <p:sldMasterId id="2147483759" r:id="rId5"/>
    <p:sldMasterId id="2147483791" r:id="rId6"/>
    <p:sldMasterId id="2147483814" r:id="rId7"/>
    <p:sldMasterId id="2147483837" r:id="rId8"/>
    <p:sldMasterId id="2147483856" r:id="rId9"/>
    <p:sldMasterId id="2147483878" r:id="rId10"/>
  </p:sldMasterIdLst>
  <p:notesMasterIdLst>
    <p:notesMasterId r:id="rId23"/>
  </p:notesMasterIdLst>
  <p:handoutMasterIdLst>
    <p:handoutMasterId r:id="rId24"/>
  </p:handoutMasterIdLst>
  <p:sldIdLst>
    <p:sldId id="341" r:id="rId11"/>
    <p:sldId id="264" r:id="rId12"/>
    <p:sldId id="347" r:id="rId13"/>
    <p:sldId id="342" r:id="rId14"/>
    <p:sldId id="345" r:id="rId15"/>
    <p:sldId id="346" r:id="rId16"/>
    <p:sldId id="343" r:id="rId17"/>
    <p:sldId id="350" r:id="rId18"/>
    <p:sldId id="344" r:id="rId19"/>
    <p:sldId id="349" r:id="rId20"/>
    <p:sldId id="302" r:id="rId21"/>
    <p:sldId id="337" r:id="rId22"/>
  </p:sldIdLst>
  <p:sldSz cx="12192000" cy="6858000"/>
  <p:notesSz cx="9144000" cy="6858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59">
          <p15:clr>
            <a:srgbClr val="A4A3A4"/>
          </p15:clr>
        </p15:guide>
        <p15:guide id="4" orient="horz" pos="913">
          <p15:clr>
            <a:srgbClr val="A4A3A4"/>
          </p15:clr>
        </p15:guide>
        <p15:guide id="6" orient="horz" pos="3770">
          <p15:clr>
            <a:srgbClr val="A4A3A4"/>
          </p15:clr>
        </p15:guide>
        <p15:guide id="7" orient="horz" pos="3952">
          <p15:clr>
            <a:srgbClr val="A4A3A4"/>
          </p15:clr>
        </p15:guide>
        <p15:guide id="10" pos="370">
          <p15:clr>
            <a:srgbClr val="A4A3A4"/>
          </p15:clr>
        </p15:guide>
        <p15:guide id="11" pos="2570">
          <p15:clr>
            <a:srgbClr val="A4A3A4"/>
          </p15:clr>
        </p15:guide>
        <p15:guide id="13" pos="7310">
          <p15:clr>
            <a:srgbClr val="A4A3A4"/>
          </p15:clr>
        </p15:guide>
        <p15:guide id="14" pos="4929">
          <p15:clr>
            <a:srgbClr val="A4A3A4"/>
          </p15:clr>
        </p15:guide>
        <p15:guide id="15" pos="5110" userDrawn="1">
          <p15:clr>
            <a:srgbClr val="A4A3A4"/>
          </p15:clr>
        </p15:guide>
        <p15:guide id="16" pos="3749">
          <p15:clr>
            <a:srgbClr val="A4A3A4"/>
          </p15:clr>
        </p15:guide>
        <p15:guide id="17" pos="3931">
          <p15:clr>
            <a:srgbClr val="A4A3A4"/>
          </p15:clr>
        </p15:guide>
        <p15:guide id="18" pos="2751">
          <p15:clr>
            <a:srgbClr val="A4A3A4"/>
          </p15:clr>
        </p15:guide>
        <p15:guide id="19" orient="horz" pos="1185">
          <p15:clr>
            <a:srgbClr val="A4A3A4"/>
          </p15:clr>
        </p15:guide>
        <p15:guide id="20" orient="horz" pos="2387">
          <p15:clr>
            <a:srgbClr val="A4A3A4"/>
          </p15:clr>
        </p15:guide>
        <p15:guide id="21" orient="horz" pos="25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110">
          <p15:clr>
            <a:srgbClr val="A4A3A4"/>
          </p15:clr>
        </p15:guide>
        <p15:guide id="2" orient="horz" pos="572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orient="horz" pos="2931">
          <p15:clr>
            <a:srgbClr val="A4A3A4"/>
          </p15:clr>
        </p15:guide>
        <p15:guide id="6" pos="3787">
          <p15:clr>
            <a:srgbClr val="A4A3A4"/>
          </p15:clr>
        </p15:guide>
        <p15:guide id="7" pos="3969">
          <p15:clr>
            <a:srgbClr val="A4A3A4"/>
          </p15:clr>
        </p15:guide>
        <p15:guide id="8" pos="272">
          <p15:clr>
            <a:srgbClr val="A4A3A4"/>
          </p15:clr>
        </p15:guide>
        <p15:guide id="9" pos="548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4" name="Autor" initials="A" lastIdx="0" clrIdx="1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DFE"/>
    <a:srgbClr val="FEFDFE"/>
    <a:srgbClr val="FDFDFE"/>
    <a:srgbClr val="FCFCFE"/>
    <a:srgbClr val="FCFCFF"/>
    <a:srgbClr val="FCFDFF"/>
    <a:srgbClr val="FCFEFF"/>
    <a:srgbClr val="FCFFFF"/>
    <a:srgbClr val="FDFFFF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470" autoAdjust="0"/>
    <p:restoredTop sz="84934" autoAdjust="0"/>
  </p:normalViewPr>
  <p:slideViewPr>
    <p:cSldViewPr snapToObjects="1">
      <p:cViewPr varScale="1">
        <p:scale>
          <a:sx n="100" d="100"/>
          <a:sy n="100" d="100"/>
        </p:scale>
        <p:origin x="1008" y="104"/>
      </p:cViewPr>
      <p:guideLst>
        <p:guide orient="horz" pos="459"/>
        <p:guide orient="horz" pos="913"/>
        <p:guide orient="horz" pos="3770"/>
        <p:guide orient="horz" pos="3952"/>
        <p:guide pos="370"/>
        <p:guide pos="2570"/>
        <p:guide pos="7310"/>
        <p:guide pos="4929"/>
        <p:guide pos="5110"/>
        <p:guide pos="3749"/>
        <p:guide pos="3931"/>
        <p:guide pos="2751"/>
        <p:guide orient="horz" pos="1185"/>
        <p:guide orient="horz" pos="2387"/>
        <p:guide orient="horz" pos="2568"/>
      </p:guideLst>
    </p:cSldViewPr>
  </p:slideViewPr>
  <p:outlineViewPr>
    <p:cViewPr>
      <p:scale>
        <a:sx n="33" d="100"/>
        <a:sy n="33" d="100"/>
      </p:scale>
      <p:origin x="0" y="-640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1816"/>
    </p:cViewPr>
  </p:sorterViewPr>
  <p:notesViewPr>
    <p:cSldViewPr snapToObjects="1">
      <p:cViewPr>
        <p:scale>
          <a:sx n="75" d="100"/>
          <a:sy n="75" d="100"/>
        </p:scale>
        <p:origin x="3468" y="804"/>
      </p:cViewPr>
      <p:guideLst>
        <p:guide orient="horz" pos="4110"/>
        <p:guide orient="horz" pos="572"/>
        <p:guide orient="horz" pos="935"/>
        <p:guide orient="horz" pos="3884"/>
        <p:guide orient="horz" pos="2931"/>
        <p:guide pos="3787"/>
        <p:guide pos="3969"/>
        <p:guide pos="272"/>
        <p:guide pos="548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20" Type="http://schemas.openxmlformats.org/officeDocument/2006/relationships/slide" Target="slides/slide10.xml"/><Relationship Id="rId21" Type="http://schemas.openxmlformats.org/officeDocument/2006/relationships/slide" Target="slides/slide11.xml"/><Relationship Id="rId22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tags" Target="tags/tag1.xml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31" Type="http://schemas.microsoft.com/office/2015/10/relationships/revisionInfo" Target="revisionInfo.xml"/><Relationship Id="rId10" Type="http://schemas.openxmlformats.org/officeDocument/2006/relationships/slideMaster" Target="slideMasters/slideMaster9.xml"/><Relationship Id="rId11" Type="http://schemas.openxmlformats.org/officeDocument/2006/relationships/slide" Target="slides/slide1.xml"/><Relationship Id="rId12" Type="http://schemas.openxmlformats.org/officeDocument/2006/relationships/slide" Target="slides/slide2.xml"/><Relationship Id="rId13" Type="http://schemas.openxmlformats.org/officeDocument/2006/relationships/slide" Target="slides/slide3.xml"/><Relationship Id="rId14" Type="http://schemas.openxmlformats.org/officeDocument/2006/relationships/slide" Target="slides/slide4.xml"/><Relationship Id="rId15" Type="http://schemas.openxmlformats.org/officeDocument/2006/relationships/slide" Target="slides/slide5.xml"/><Relationship Id="rId16" Type="http://schemas.openxmlformats.org/officeDocument/2006/relationships/slide" Target="slides/slide6.xml"/><Relationship Id="rId17" Type="http://schemas.openxmlformats.org/officeDocument/2006/relationships/slide" Target="slides/slide7.xml"/><Relationship Id="rId18" Type="http://schemas.openxmlformats.org/officeDocument/2006/relationships/slide" Target="slides/slide8.xml"/><Relationship Id="rId19" Type="http://schemas.openxmlformats.org/officeDocument/2006/relationships/slide" Target="slides/slide9.xml"/><Relationship Id="rId1" Type="http://schemas.openxmlformats.org/officeDocument/2006/relationships/customXml" Target="../customXml/item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31801" y="188640"/>
            <a:ext cx="5573166" cy="22474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2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6300788" y="188640"/>
            <a:ext cx="2404516" cy="22474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800"/>
            </a:lvl1pPr>
          </a:lstStyle>
          <a:p>
            <a:fld id="{EC13577B-6902-467D-A26C-08A0DD5E4E03}" type="datetimeFigureOut">
              <a:rPr lang="en-US" smtClean="0"/>
              <a:pPr/>
              <a:t>11/9/17</a:t>
            </a:fld>
            <a:endParaRPr lang="en-US" dirty="0"/>
          </a:p>
        </p:txBody>
      </p:sp>
      <p:sp>
        <p:nvSpPr>
          <p:cNvPr id="13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431801" y="6273316"/>
            <a:ext cx="5580062" cy="2405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4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6300788" y="6273316"/>
            <a:ext cx="2404516" cy="2405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/>
            </a:lvl1pPr>
          </a:lstStyle>
          <a:p>
            <a:fld id="{DF61EA0F-A667-4B49-8422-0062BC55E2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7990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31799" y="899999"/>
            <a:ext cx="5580063" cy="22474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/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6293892" y="899999"/>
            <a:ext cx="2411412" cy="22474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800"/>
            </a:lvl1pPr>
          </a:lstStyle>
          <a:p>
            <a:fld id="{EC13577B-6902-467D-A26C-08A0DD5E4E03}" type="datetimeFigureOut">
              <a:rPr lang="en-US" noProof="0" smtClean="0"/>
              <a:pPr/>
              <a:t>11/9/17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31799" y="1484313"/>
            <a:ext cx="5580063" cy="313878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Kopfzeil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300788" y="1484313"/>
            <a:ext cx="2411412" cy="468153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431799" y="6273316"/>
            <a:ext cx="5573165" cy="2405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/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300788" y="6273316"/>
            <a:ext cx="2404516" cy="2405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/>
            </a:lvl1pPr>
          </a:lstStyle>
          <a:p>
            <a:fld id="{DF61EA0F-A667-4B49-8422-0062BC55E24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431799" y="5265204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431799" y="5565419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>
            <a:off x="431799" y="5865634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>
            <a:off x="431799" y="6165850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 bwMode="gray">
          <a:xfrm>
            <a:off x="431799" y="4833156"/>
            <a:ext cx="17639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spc="-110" baseline="0" noProof="0" dirty="0">
                <a:solidFill>
                  <a:schemeClr val="tx2"/>
                </a:solidFill>
                <a:latin typeface="Arial Black" panose="020B0A04020102020204" pitchFamily="34" charset="0"/>
              </a:rPr>
              <a:t>NOTES</a:t>
            </a:r>
            <a:endParaRPr lang="en-US" spc="-110" baseline="0" noProof="0" dirty="0">
              <a:solidFill>
                <a:schemeClr val="tx2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Bef>
        <a:spcPts val="300"/>
      </a:spcBef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spcBef>
        <a:spcPts val="0"/>
      </a:spcBef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spcBef>
        <a:spcPts val="0"/>
      </a:spcBef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28600" indent="-228600" algn="l" defTabSz="914400" rtl="0" eaLnBrk="1" latinLnBrk="0" hangingPunct="1">
      <a:spcBef>
        <a:spcPts val="300"/>
      </a:spcBef>
      <a:spcAft>
        <a:spcPts val="300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spcBef>
        <a:spcPts val="300"/>
      </a:spcBef>
      <a:spcAft>
        <a:spcPts val="300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spcBef>
        <a:spcPts val="300"/>
      </a:spcBef>
      <a:spcAft>
        <a:spcPts val="300"/>
      </a:spcAft>
      <a:defRPr sz="1200" b="1" kern="1200" baseline="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spcBef>
        <a:spcPts val="300"/>
      </a:spcBef>
      <a:spcAft>
        <a:spcPts val="300"/>
      </a:spcAft>
      <a:defRPr sz="1200" b="1" kern="1200" cap="all" spc="0" baseline="0">
        <a:solidFill>
          <a:schemeClr val="tx2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spcBef>
        <a:spcPts val="300"/>
      </a:spcBef>
      <a:spcAft>
        <a:spcPts val="300"/>
      </a:spcAft>
      <a:defRPr sz="1200" b="1" kern="1200" cap="all" spc="0" baseline="0">
        <a:solidFill>
          <a:schemeClr val="accent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spcBef>
        <a:spcPts val="300"/>
      </a:spcBef>
      <a:spcAft>
        <a:spcPts val="300"/>
      </a:spcAft>
      <a:defRPr sz="800" kern="1200">
        <a:solidFill>
          <a:schemeClr val="tx1">
            <a:lumMod val="50000"/>
            <a:lumOff val="50000"/>
          </a:schemeClr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 you </a:t>
            </a:r>
            <a:r>
              <a:rPr lang="en-US" baseline="0" dirty="0" smtClean="0"/>
              <a:t> for having me here today and it</a:t>
            </a:r>
            <a:r>
              <a:rPr lang="mr-IN" baseline="0" dirty="0" smtClean="0"/>
              <a:t>’</a:t>
            </a:r>
            <a:r>
              <a:rPr lang="en-US" baseline="0" dirty="0" smtClean="0"/>
              <a:t>s a pleasure to be share some of my thoughts on mobility and hear some interesting view today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“Let me being by asking.. How many of you here are satisfied with the mobility  solutions (they way it is, the options available)in the cities you live in.. ”</a:t>
            </a:r>
          </a:p>
          <a:p>
            <a:endParaRPr lang="en-US" baseline="0" dirty="0" smtClean="0"/>
          </a:p>
          <a:p>
            <a:r>
              <a:rPr lang="en-US" baseline="0" dirty="0" smtClean="0"/>
              <a:t>ANSWER</a:t>
            </a:r>
            <a:endParaRPr lang="en-US" dirty="0" smtClean="0"/>
          </a:p>
          <a:p>
            <a:endParaRPr lang="en-US" dirty="0" smtClean="0"/>
          </a:p>
          <a:p>
            <a:endParaRPr lang="en-US" baseline="0" dirty="0" smtClean="0"/>
          </a:p>
          <a:p>
            <a:r>
              <a:rPr lang="en-US" baseline="0" dirty="0" smtClean="0"/>
              <a:t>Now it is the time to change it and drive a revolution</a:t>
            </a:r>
            <a:r>
              <a:rPr lang="mr-IN" baseline="0" dirty="0" smtClean="0"/>
              <a:t>…</a:t>
            </a:r>
            <a:r>
              <a:rPr lang="en-US" baseline="0" dirty="0" smtClean="0"/>
              <a:t> “Jump to next slide"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40622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ward</a:t>
            </a:r>
            <a:r>
              <a:rPr lang="en-US" baseline="0" dirty="0" smtClean="0"/>
              <a:t>s the end.. What is really </a:t>
            </a:r>
            <a:r>
              <a:rPr lang="en-US" baseline="0" dirty="0" err="1" smtClean="0"/>
              <a:t>ciritiacal</a:t>
            </a:r>
            <a:r>
              <a:rPr lang="en-US" baseline="0" dirty="0" smtClean="0"/>
              <a:t> is how can we make it the solution work end to end..  Right from the </a:t>
            </a:r>
            <a:r>
              <a:rPr lang="en-US" baseline="0" dirty="0" err="1" smtClean="0"/>
              <a:t>interfact</a:t>
            </a:r>
            <a:r>
              <a:rPr lang="en-US" baseline="0" dirty="0" smtClean="0"/>
              <a:t> to the the vehicles.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For that we need to </a:t>
            </a:r>
            <a:r>
              <a:rPr lang="en-US" dirty="0" smtClean="0"/>
              <a:t>PRIORITIZE PEOPLE OVER VEHICLES</a:t>
            </a:r>
            <a:r>
              <a:rPr lang="en-US" baseline="0" dirty="0" smtClean="0"/>
              <a:t> give them an accessible mobility solution where the data infrastructure underpinning the shared </a:t>
            </a:r>
            <a:r>
              <a:rPr lang="en-US" baseline="0" dirty="0" err="1" smtClean="0"/>
              <a:t>transportaiton</a:t>
            </a:r>
            <a:r>
              <a:rPr lang="en-US" baseline="0" dirty="0" smtClean="0"/>
              <a:t>  </a:t>
            </a:r>
            <a:r>
              <a:rPr lang="en-US" dirty="0" smtClean="0"/>
              <a:t>must enable interoperability, competition and innovation, while delivering privacy, security and accountability. </a:t>
            </a:r>
          </a:p>
          <a:p>
            <a:endParaRPr lang="en-US" dirty="0" smtClean="0"/>
          </a:p>
          <a:p>
            <a:r>
              <a:rPr lang="en-US" dirty="0" smtClean="0"/>
              <a:t>To</a:t>
            </a:r>
            <a:r>
              <a:rPr lang="en-US" baseline="0" dirty="0" smtClean="0"/>
              <a:t> conclude</a:t>
            </a:r>
            <a:r>
              <a:rPr lang="mr-IN" baseline="0" dirty="0" smtClean="0"/>
              <a:t>…</a:t>
            </a:r>
            <a:r>
              <a:rPr lang="en-US" baseline="0" dirty="0" smtClean="0"/>
              <a:t> </a:t>
            </a:r>
            <a:endParaRPr lang="en-US" dirty="0" smtClean="0"/>
          </a:p>
          <a:p>
            <a:r>
              <a:rPr lang="en-US" dirty="0" smtClean="0"/>
              <a:t>“Started with Horses</a:t>
            </a:r>
            <a:r>
              <a:rPr lang="mr-IN" dirty="0" smtClean="0"/>
              <a:t>…</a:t>
            </a:r>
            <a:r>
              <a:rPr lang="en-US" dirty="0" smtClean="0"/>
              <a:t> moved to horse power..  Now it is our time to power mobility with data and algorithms</a:t>
            </a:r>
            <a:r>
              <a:rPr lang="mr-IN" dirty="0" smtClean="0"/>
              <a:t>…</a:t>
            </a:r>
            <a:r>
              <a:rPr lang="en-US" dirty="0" smtClean="0"/>
              <a:t> 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baseline="0" dirty="0">
              <a:sym typeface="Wingding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564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We</a:t>
            </a:r>
            <a:r>
              <a:rPr lang="en-US" baseline="0" dirty="0" smtClean="0"/>
              <a:t> have started our journey of revolution at MOIA</a:t>
            </a:r>
            <a:r>
              <a:rPr lang="mr-IN" baseline="0" dirty="0" smtClean="0"/>
              <a:t>…</a:t>
            </a:r>
            <a:r>
              <a:rPr lang="en-US" baseline="0" dirty="0" smtClean="0"/>
              <a:t> and hope more people join this social mov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7748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reason</a:t>
            </a:r>
            <a:r>
              <a:rPr lang="en-US" baseline="0" dirty="0" smtClean="0"/>
              <a:t> for this </a:t>
            </a:r>
            <a:r>
              <a:rPr lang="en-US" baseline="0" dirty="0" err="1" smtClean="0"/>
              <a:t>disstatisfaction</a:t>
            </a:r>
            <a:r>
              <a:rPr lang="en-US" baseline="0" dirty="0" smtClean="0"/>
              <a:t>..  is</a:t>
            </a:r>
            <a:endParaRPr lang="en-US" dirty="0" smtClean="0"/>
          </a:p>
          <a:p>
            <a:r>
              <a:rPr lang="en-US" dirty="0" smtClean="0"/>
              <a:t>So far mos</a:t>
            </a:r>
            <a:r>
              <a:rPr lang="en-US" baseline="0" dirty="0" smtClean="0"/>
              <a:t>t of the focus in urban mobility has been evolutionary</a:t>
            </a:r>
            <a:r>
              <a:rPr lang="mr-IN" baseline="0" dirty="0" smtClean="0"/>
              <a:t>…</a:t>
            </a:r>
            <a:r>
              <a:rPr lang="en-US" baseline="0" dirty="0" smtClean="0"/>
              <a:t> “PAUSE”</a:t>
            </a:r>
          </a:p>
          <a:p>
            <a:endParaRPr lang="en-US" dirty="0" smtClean="0"/>
          </a:p>
          <a:p>
            <a:r>
              <a:rPr lang="en-US" dirty="0" smtClean="0"/>
              <a:t>What this </a:t>
            </a:r>
            <a:r>
              <a:rPr lang="en-US" dirty="0" err="1" smtClean="0"/>
              <a:t>evolutinalry</a:t>
            </a:r>
            <a:r>
              <a:rPr lang="en-US" baseline="0" dirty="0" smtClean="0"/>
              <a:t> approach has lead to is most of the </a:t>
            </a:r>
          </a:p>
          <a:p>
            <a:endParaRPr lang="en-US" baseline="0" dirty="0" smtClean="0"/>
          </a:p>
          <a:p>
            <a:r>
              <a:rPr lang="en-US" baseline="0" dirty="0" smtClean="0"/>
              <a:t>Cities today face similar problem :</a:t>
            </a:r>
          </a:p>
          <a:p>
            <a:pPr lvl="1"/>
            <a:r>
              <a:rPr lang="en-US" baseline="0" dirty="0" smtClean="0"/>
              <a:t>Congestion, Parking , Emissions &amp; a real lack of alternative </a:t>
            </a:r>
          </a:p>
          <a:p>
            <a:pPr lvl="1"/>
            <a:endParaRPr lang="en-US" baseline="0" dirty="0" smtClean="0"/>
          </a:p>
          <a:p>
            <a:pPr lvl="1"/>
            <a:r>
              <a:rPr lang="en-US" baseline="0" dirty="0" smtClean="0"/>
              <a:t>And this Is just going to increase as we go ahead from here “Next slide”</a:t>
            </a:r>
          </a:p>
          <a:p>
            <a:pPr lvl="1"/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00467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d People want</a:t>
            </a:r>
            <a:r>
              <a:rPr lang="en-US" baseline="0" dirty="0" smtClean="0"/>
              <a:t> to transform from where it is to a sustainable future.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where in the beginning of the last century things started to change for mobility when automotive boom was about to being</a:t>
            </a:r>
            <a:r>
              <a:rPr lang="mr-IN" baseline="0" dirty="0" smtClean="0"/>
              <a:t>…</a:t>
            </a:r>
            <a:r>
              <a:rPr lang="en-US" baseline="0" dirty="0" smtClean="0"/>
              <a:t>if you look at his interesting picture from 1905 to 1930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 that was the start of the problem and we are now tackling a century old problem.. “NEXT slide”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0581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ut,</a:t>
            </a:r>
            <a:r>
              <a:rPr lang="en-US" baseline="0" dirty="0" smtClean="0"/>
              <a:t> before we start thinking on how to solve it lets look at what people really think is a real problem, what they want and if they have any solu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 quick google search with these key words are enough for us to understand what people think of mobility  &amp; what they want..</a:t>
            </a:r>
          </a:p>
          <a:p>
            <a:endParaRPr lang="en-US" baseline="0" dirty="0" smtClean="0"/>
          </a:p>
          <a:p>
            <a:r>
              <a:rPr lang="mr-IN" baseline="0" dirty="0" smtClean="0"/>
              <a:t> </a:t>
            </a:r>
            <a:r>
              <a:rPr lang="en-US" baseline="0" dirty="0" smtClean="0"/>
              <a:t>“NEXT slide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259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ike</a:t>
            </a:r>
            <a:r>
              <a:rPr lang="en-US" baseline="0" dirty="0" smtClean="0"/>
              <a:t> car sharing, bike sharing, pooling etc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7166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 At MOIA we believe that pooling will be the key for the</a:t>
            </a:r>
            <a:r>
              <a:rPr lang="en-US" baseline="0" dirty="0" smtClean="0"/>
              <a:t> new mobility dimension, which </a:t>
            </a:r>
          </a:p>
          <a:p>
            <a:endParaRPr lang="en-US" baseline="0" dirty="0" smtClean="0"/>
          </a:p>
          <a:p>
            <a:r>
              <a:rPr lang="en-US" baseline="0" dirty="0" smtClean="0"/>
              <a:t>But will this kind of pooled mobility help is reducing some the problems we have? “Any one with an option on this”..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Hmm.. not many </a:t>
            </a:r>
            <a:r>
              <a:rPr lang="en-US" baseline="0" dirty="0" err="1" smtClean="0"/>
              <a:t>convincining</a:t>
            </a:r>
            <a:r>
              <a:rPr lang="en-US" baseline="0" dirty="0" smtClean="0"/>
              <a:t> “</a:t>
            </a:r>
            <a:r>
              <a:rPr lang="en-US" baseline="0" dirty="0" err="1" smtClean="0"/>
              <a:t>yess</a:t>
            </a:r>
            <a:r>
              <a:rPr lang="en-US" baseline="0" dirty="0" smtClean="0"/>
              <a:t>””..  Alternative “nice.. Many </a:t>
            </a:r>
            <a:r>
              <a:rPr lang="en-US" baseline="0" dirty="0" err="1" smtClean="0"/>
              <a:t>yes;s</a:t>
            </a:r>
            <a:r>
              <a:rPr lang="en-US" baseline="0" dirty="0" smtClean="0"/>
              <a:t>.. More than I expected.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smtClean="0">
                <a:solidFill>
                  <a:srgbClr val="000000"/>
                </a:solidFill>
                <a:latin typeface="Arial"/>
              </a:rPr>
              <a:pPr/>
              <a:t>6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4996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Shape 38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89" name="Shape 38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 smtClean="0"/>
              <a:t>CONSIDER THIS</a:t>
            </a:r>
          </a:p>
          <a:p>
            <a:r>
              <a:rPr dirty="0" smtClean="0"/>
              <a:t>•Researchers </a:t>
            </a:r>
            <a:r>
              <a:rPr dirty="0"/>
              <a:t>from MIT, Cornell University, and the Italian National Research Council’s recently conducted a study into the impact of sharing on the 150 million trips recorded by over 13,000 New York City cabs over the course of a year. </a:t>
            </a:r>
          </a:p>
          <a:p>
            <a:endParaRPr dirty="0"/>
          </a:p>
          <a:p>
            <a:r>
              <a:rPr lang="de-DE" dirty="0" smtClean="0"/>
              <a:t>-</a:t>
            </a:r>
            <a:r>
              <a:rPr lang="de-DE" baseline="0" dirty="0" smtClean="0"/>
              <a:t> </a:t>
            </a:r>
            <a:r>
              <a:rPr dirty="0" smtClean="0"/>
              <a:t>They </a:t>
            </a:r>
            <a:r>
              <a:rPr dirty="0"/>
              <a:t>discovered that 95% of all trips could have been shared – that means shared without inconveniencing any passenger by more than 3 minutes </a:t>
            </a:r>
          </a:p>
          <a:p>
            <a:endParaRPr dirty="0"/>
          </a:p>
          <a:p>
            <a:r>
              <a:rPr lang="de-DE" dirty="0" smtClean="0"/>
              <a:t>- </a:t>
            </a:r>
            <a:r>
              <a:rPr dirty="0" smtClean="0"/>
              <a:t>The </a:t>
            </a:r>
            <a:r>
              <a:rPr dirty="0"/>
              <a:t>total number of journeys in New York City could be cut by 40%. That’s 60 million car journeys per year! </a:t>
            </a:r>
          </a:p>
        </p:txBody>
      </p:sp>
    </p:spTree>
    <p:extLst>
      <p:ext uri="{BB962C8B-B14F-4D97-AF65-F5344CB8AC3E}">
        <p14:creationId xmlns:p14="http://schemas.microsoft.com/office/powerpoint/2010/main" val="768027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Do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n</a:t>
            </a:r>
            <a:r>
              <a:rPr lang="de-DE" baseline="0" dirty="0" smtClean="0"/>
              <a:t> 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serve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s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ities</a:t>
            </a:r>
            <a:r>
              <a:rPr lang="mr-IN" baseline="0" dirty="0" smtClean="0"/>
              <a:t>…</a:t>
            </a:r>
            <a:r>
              <a:rPr lang="en-US" baseline="0" dirty="0" smtClean="0"/>
              <a:t> probably not.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I mean a quick look at the demographics of the city will clearly present the needs of people and what mobility type they are seeking to have.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is is where </a:t>
            </a:r>
            <a:r>
              <a:rPr lang="en-US" baseline="0" dirty="0" err="1" smtClean="0"/>
              <a:t>MaaS</a:t>
            </a:r>
            <a:r>
              <a:rPr lang="en-US" baseline="0" dirty="0" smtClean="0"/>
              <a:t> as a concept becomes </a:t>
            </a:r>
            <a:r>
              <a:rPr lang="en-US" baseline="0" dirty="0" err="1" smtClean="0"/>
              <a:t>relavent</a:t>
            </a:r>
            <a:r>
              <a:rPr lang="en-US" baseline="0" dirty="0" smtClean="0"/>
              <a:t> and service providers need to think on how they can make mobility seamless.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52702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1484313"/>
            <a:ext cx="5580063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</a:t>
            </a:r>
            <a:r>
              <a:rPr lang="en-US" baseline="0" dirty="0" smtClean="0"/>
              <a:t> achieve seamless mobility </a:t>
            </a:r>
            <a:r>
              <a:rPr lang="mr-IN" baseline="0" dirty="0" smtClean="0"/>
              <a:t>…</a:t>
            </a:r>
            <a:r>
              <a:rPr lang="en-US" baseline="0" dirty="0" smtClean="0"/>
              <a:t> </a:t>
            </a:r>
            <a:endParaRPr lang="en-US" dirty="0" smtClean="0"/>
          </a:p>
          <a:p>
            <a:r>
              <a:rPr lang="en-US" dirty="0" smtClean="0"/>
              <a:t>Data plays crucial role to play in the new Mobility </a:t>
            </a:r>
            <a:r>
              <a:rPr lang="en-US" dirty="0" err="1" smtClean="0"/>
              <a:t>defintion</a:t>
            </a:r>
            <a:r>
              <a:rPr lang="en-US" dirty="0" smtClean="0"/>
              <a:t>,</a:t>
            </a:r>
            <a:r>
              <a:rPr lang="en-US" baseline="0" dirty="0" smtClean="0"/>
              <a:t> data coming from all of these stake holders will be and is </a:t>
            </a:r>
            <a:r>
              <a:rPr lang="en-US" baseline="0" dirty="0" err="1" smtClean="0"/>
              <a:t>crititcal</a:t>
            </a:r>
            <a:r>
              <a:rPr lang="en-US" baseline="0" dirty="0" smtClean="0"/>
              <a:t> to understand the unique needs and provide unique solutions.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And mind you these solutions will have to be tailored to cities because cities as individuals have different characteristics and will need solutions which can be tailored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ink global but act local “Next slide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noProof="0" smtClean="0"/>
              <a:pPr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6678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6.xml"/><Relationship Id="rId3" Type="http://schemas.openxmlformats.org/officeDocument/2006/relationships/image" Target="../media/image7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2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7.xml"/><Relationship Id="rId3" Type="http://schemas.openxmlformats.org/officeDocument/2006/relationships/image" Target="../media/image7.jpe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9.emf"/><Relationship Id="rId6" Type="http://schemas.openxmlformats.org/officeDocument/2006/relationships/image" Target="../media/image10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8.vml"/><Relationship Id="rId2" Type="http://schemas.openxmlformats.org/officeDocument/2006/relationships/tags" Target="../tags/tag3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9.emf"/><Relationship Id="rId6" Type="http://schemas.openxmlformats.org/officeDocument/2006/relationships/image" Target="../media/image11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9.vml"/><Relationship Id="rId2" Type="http://schemas.openxmlformats.org/officeDocument/2006/relationships/tags" Target="../tags/tag3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9.emf"/><Relationship Id="rId6" Type="http://schemas.openxmlformats.org/officeDocument/2006/relationships/image" Target="../media/image12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0.vml"/><Relationship Id="rId2" Type="http://schemas.openxmlformats.org/officeDocument/2006/relationships/tags" Target="../tags/tag3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9.emf"/><Relationship Id="rId6" Type="http://schemas.openxmlformats.org/officeDocument/2006/relationships/image" Target="../media/image13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1.vml"/><Relationship Id="rId2" Type="http://schemas.openxmlformats.org/officeDocument/2006/relationships/tags" Target="../tags/tag3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32.vml"/><Relationship Id="rId2" Type="http://schemas.openxmlformats.org/officeDocument/2006/relationships/tags" Target="../tags/tag3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3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33.vml"/><Relationship Id="rId2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34.vml"/><Relationship Id="rId2" Type="http://schemas.openxmlformats.org/officeDocument/2006/relationships/tags" Target="../tags/tag4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35.vml"/><Relationship Id="rId2" Type="http://schemas.openxmlformats.org/officeDocument/2006/relationships/tags" Target="../tags/tag4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36.vml"/><Relationship Id="rId2" Type="http://schemas.openxmlformats.org/officeDocument/2006/relationships/tags" Target="../tags/tag4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7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37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37.vml"/><Relationship Id="rId2" Type="http://schemas.openxmlformats.org/officeDocument/2006/relationships/tags" Target="../tags/tag4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38.vml"/><Relationship Id="rId2" Type="http://schemas.openxmlformats.org/officeDocument/2006/relationships/tags" Target="../tags/tag4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39.vml"/><Relationship Id="rId2" Type="http://schemas.openxmlformats.org/officeDocument/2006/relationships/tags" Target="../tags/tag4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3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4.pn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4.png"/><Relationship Id="rId3" Type="http://schemas.openxmlformats.org/officeDocument/2006/relationships/image" Target="../media/image4.png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4.png"/><Relationship Id="rId3" Type="http://schemas.openxmlformats.org/officeDocument/2006/relationships/image" Target="../media/image4.pn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5.png"/><Relationship Id="rId3" Type="http://schemas.openxmlformats.org/officeDocument/2006/relationships/image" Target="../media/image4.pn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5.png"/><Relationship Id="rId3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6.png"/><Relationship Id="rId3" Type="http://schemas.openxmlformats.org/officeDocument/2006/relationships/image" Target="../media/image4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Relationship Id="rId3" Type="http://schemas.openxmlformats.org/officeDocument/2006/relationships/image" Target="../media/image27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4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1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9.emf"/><Relationship Id="rId6" Type="http://schemas.openxmlformats.org/officeDocument/2006/relationships/image" Target="../media/image10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9.emf"/><Relationship Id="rId6" Type="http://schemas.openxmlformats.org/officeDocument/2006/relationships/image" Target="../media/image11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9.emf"/><Relationship Id="rId6" Type="http://schemas.openxmlformats.org/officeDocument/2006/relationships/image" Target="../media/image12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9.emf"/><Relationship Id="rId6" Type="http://schemas.openxmlformats.org/officeDocument/2006/relationships/image" Target="../media/image13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9.vml"/><Relationship Id="rId2" Type="http://schemas.openxmlformats.org/officeDocument/2006/relationships/tags" Target="../tags/tag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9.emf"/><Relationship Id="rId6" Type="http://schemas.openxmlformats.org/officeDocument/2006/relationships/image" Target="../media/image10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5.vml"/><Relationship Id="rId2" Type="http://schemas.openxmlformats.org/officeDocument/2006/relationships/tags" Target="../tags/tag1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9.emf"/><Relationship Id="rId6" Type="http://schemas.openxmlformats.org/officeDocument/2006/relationships/image" Target="../media/image11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6.vml"/><Relationship Id="rId2" Type="http://schemas.openxmlformats.org/officeDocument/2006/relationships/tags" Target="../tags/tag1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9.emf"/><Relationship Id="rId6" Type="http://schemas.openxmlformats.org/officeDocument/2006/relationships/image" Target="../media/image12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7.vml"/><Relationship Id="rId2" Type="http://schemas.openxmlformats.org/officeDocument/2006/relationships/tags" Target="../tags/tag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9.emf"/><Relationship Id="rId6" Type="http://schemas.openxmlformats.org/officeDocument/2006/relationships/image" Target="../media/image13.jp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8.vml"/><Relationship Id="rId2" Type="http://schemas.openxmlformats.org/officeDocument/2006/relationships/tags" Target="../tags/tag2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19.vml"/><Relationship Id="rId2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20.vml"/><Relationship Id="rId2" Type="http://schemas.openxmlformats.org/officeDocument/2006/relationships/tags" Target="../tags/tag2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8.emf"/><Relationship Id="rId6" Type="http://schemas.openxmlformats.org/officeDocument/2006/relationships/image" Target="../media/image14.png"/><Relationship Id="rId1" Type="http://schemas.openxmlformats.org/officeDocument/2006/relationships/vmlDrawing" Target="../drawings/vmlDrawing21.vml"/><Relationship Id="rId2" Type="http://schemas.openxmlformats.org/officeDocument/2006/relationships/tags" Target="../tags/tag2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22.vml"/><Relationship Id="rId2" Type="http://schemas.openxmlformats.org/officeDocument/2006/relationships/tags" Target="../tags/tag2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23.vml"/><Relationship Id="rId2" Type="http://schemas.openxmlformats.org/officeDocument/2006/relationships/tags" Target="../tags/tag2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6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7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6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24.vml"/><Relationship Id="rId2" Type="http://schemas.openxmlformats.org/officeDocument/2006/relationships/tags" Target="../tags/tag2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25.vml"/><Relationship Id="rId2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15.png"/><Relationship Id="rId1" Type="http://schemas.openxmlformats.org/officeDocument/2006/relationships/vmlDrawing" Target="../drawings/vmlDrawing26.vml"/><Relationship Id="rId2" Type="http://schemas.openxmlformats.org/officeDocument/2006/relationships/tags" Target="../tags/tag3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6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0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Master" Target="../slideMasters/slideMaster5.xml"/><Relationship Id="rId3" Type="http://schemas.openxmlformats.org/officeDocument/2006/relationships/image" Target="../media/image7.jpe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0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15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88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07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8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89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05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6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90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303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4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91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301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2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92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99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0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93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7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8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94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5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6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16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67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86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7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68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84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5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69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82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3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70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80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1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71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78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9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72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6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7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73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74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5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17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243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6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44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3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4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45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1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2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46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9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4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7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8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48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5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6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49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3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4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50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51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2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18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19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41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2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20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9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0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21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7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8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22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5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6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23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3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4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24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1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2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25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9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26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7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8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8883ED7-E406-48EB-A548-852435A1E26E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102" name="Picture 5" descr="P:\Projekte\MOIA\03_UPDATE_TOOLS\_INPUT_KUNDE\_LOGOS\PNG-20170731T092548Z-001\PNG\MOIA_Logo_SocialMovement_BLUE_RGB.png">
            <a:extLst>
              <a:ext uri="{FF2B5EF4-FFF2-40B4-BE49-F238E27FC236}">
                <a16:creationId xmlns:a16="http://schemas.microsoft.com/office/drawing/2014/main" xmlns="" id="{E8506AA5-1AB4-4AB5-8863-D4F9749A7A3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1" t="22251" r="14641" b="22251"/>
          <a:stretch/>
        </p:blipFill>
        <p:spPr bwMode="auto">
          <a:xfrm>
            <a:off x="3134996" y="2408010"/>
            <a:ext cx="5929915" cy="230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4090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500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1881188"/>
            <a:ext cx="3457574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12125" y="1881188"/>
            <a:ext cx="3487028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1796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5364163" cy="38877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34112" y="2097088"/>
            <a:ext cx="5364163" cy="38877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Gerade Verbindung 125"/>
          <p:cNvCxnSpPr/>
          <p:nvPr userDrawn="1"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3"/>
            <a:ext cx="34925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097088"/>
            <a:ext cx="7237412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3492000" cy="72072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097088"/>
            <a:ext cx="345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7234483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2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3457575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4" y="728663"/>
            <a:ext cx="3492501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184650"/>
            <a:ext cx="34560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3456000" cy="316865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09195" y="728663"/>
            <a:ext cx="3492000" cy="316865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723600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824789" y="1"/>
            <a:ext cx="4367211" cy="4184650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big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5364163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951539" y="1"/>
            <a:ext cx="6240462" cy="5979594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09195" y="728663"/>
            <a:ext cx="3492000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3 x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184650"/>
            <a:ext cx="34560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2097087"/>
            <a:ext cx="3492501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67214" y="2097087"/>
            <a:ext cx="3455652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109195" y="2097087"/>
            <a:ext cx="3492501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457088"/>
            <a:ext cx="349200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457088"/>
            <a:ext cx="3457574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12125" y="2457088"/>
            <a:ext cx="349200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1881188"/>
            <a:ext cx="3492000" cy="5762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6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67214" y="1881188"/>
            <a:ext cx="3457574" cy="5762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6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2125" y="1881188"/>
            <a:ext cx="3492000" cy="5762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6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80919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P:\Projekte\MOIA\02_P170083_TEMPLATE\03_FOLIENBIBLIOTHEK\_Media\Bild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92000" cy="6859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4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40000">
                <a:srgbClr val="009DD7">
                  <a:alpha val="56000"/>
                </a:srgbClr>
              </a:gs>
              <a:gs pos="0">
                <a:srgbClr val="1AA37F">
                  <a:alpha val="64000"/>
                </a:srgbClr>
              </a:gs>
              <a:gs pos="90000">
                <a:srgbClr val="0A2737">
                  <a:alpha val="73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cxnSp>
        <p:nvCxnSpPr>
          <p:cNvPr id="20" name="Gerade Verbindung 125"/>
          <p:cNvCxnSpPr/>
          <p:nvPr userDrawn="1"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6pPr>
            <a:lvl7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7pPr>
            <a:lvl8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8pPr>
            <a:lvl9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367214" y="4184650"/>
            <a:ext cx="3456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1212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67214" y="3427563"/>
            <a:ext cx="34560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212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2098985"/>
            <a:ext cx="5364162" cy="3885889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pic>
        <p:nvPicPr>
          <p:cNvPr id="17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1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33A39520-481E-4175-8795-8DE23B6A77FA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63" y="2098985"/>
            <a:ext cx="5364162" cy="3885889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6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1FDDEA9-B4B7-4FEE-8563-884D92F018BD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/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3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1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1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D232A39-4B70-8C41-A890-BC4887184C9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8" y="275115"/>
            <a:ext cx="1266825" cy="233362"/>
          </a:xfrm>
          <a:blipFill dpi="0" rotWithShape="1">
            <a:blip r:embed="rId4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11011779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11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11011779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876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5" name="Gruppieren 2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7" name="Gerade Verbindung 10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8" name="Textfeld 10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5" name="Gerade Verbindung 10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6" name="Textfeld 10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6" name="Gruppieren 2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6" name="Gerade Verbindung 8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Textfeld 8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4" name="Gerade Verbindung 8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Textfeld 8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7" name="Gruppieren 2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7" name="Gruppieren 5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8" name="Gruppieren 5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8" name="Gruppieren 2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9" name="Gruppieren 2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0" name="Gruppieren 2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1" name="Gruppieren 3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37" name="Gerade Verbindung 3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8" name="Textfeld 3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pic>
        <p:nvPicPr>
          <p:cNvPr id="1027" name="Picture 3" descr="P:\Projekte\MOIA\02_P170083_TEMPLATE\01_DESIGNKONZEPT\_INPUT\LOGO\MOIA_Logo_POS Blue+Descriptor Yellow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82144" y="2617512"/>
            <a:ext cx="5827713" cy="189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8883ED7-E406-48EB-A548-852435A1E26E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spc="-110" baseline="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10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375" y="4184650"/>
            <a:ext cx="11017250" cy="1800411"/>
          </a:xfrm>
        </p:spPr>
        <p:txBody>
          <a:bodyPr t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/>
            </a:lvl2pPr>
            <a:lvl3pPr marL="0" indent="0" algn="l">
              <a:spcBef>
                <a:spcPts val="600"/>
              </a:spcBef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spcBef>
                <a:spcPts val="600"/>
              </a:spcBef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, AUTHOR, LOCATION</a:t>
            </a:r>
          </a:p>
          <a:p>
            <a:pPr lvl="0"/>
            <a:r>
              <a:rPr lang="en-US" noProof="0" dirty="0"/>
              <a:t>Year / Month / day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anchor="b"/>
          <a:lstStyle>
            <a:lvl1pPr>
              <a:defRPr sz="2800" spc="-110" baseline="0"/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51484" y="2097088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7375" y="2097088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2916035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3734982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7375" y="4553929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78461" y="5372875"/>
            <a:ext cx="476979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3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>
            <a:off x="1066267" y="2082340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9" name="ClipArt-Platzhalter 37"/>
          <p:cNvSpPr>
            <a:spLocks noGrp="1"/>
          </p:cNvSpPr>
          <p:nvPr>
            <p:ph type="clipArt" sz="quarter" idx="24" hasCustomPrompt="1"/>
          </p:nvPr>
        </p:nvSpPr>
        <p:spPr bwMode="gray">
          <a:xfrm rot="1500000">
            <a:off x="1066268" y="290128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0" name="ClipArt-Platzhalter 37"/>
          <p:cNvSpPr>
            <a:spLocks noGrp="1"/>
          </p:cNvSpPr>
          <p:nvPr>
            <p:ph type="clipArt" sz="quarter" idx="25" hasCustomPrompt="1"/>
          </p:nvPr>
        </p:nvSpPr>
        <p:spPr bwMode="gray">
          <a:xfrm rot="1500000">
            <a:off x="1066269" y="3720235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1" name="ClipArt-Platzhalter 37"/>
          <p:cNvSpPr>
            <a:spLocks noGrp="1"/>
          </p:cNvSpPr>
          <p:nvPr>
            <p:ph type="clipArt" sz="quarter" idx="26" hasCustomPrompt="1"/>
          </p:nvPr>
        </p:nvSpPr>
        <p:spPr bwMode="gray">
          <a:xfrm rot="1500000">
            <a:off x="1066269" y="4539182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2" name="ClipArt-Platzhalter 37"/>
          <p:cNvSpPr>
            <a:spLocks noGrp="1"/>
          </p:cNvSpPr>
          <p:nvPr>
            <p:ph type="clipArt" sz="quarter" idx="27" hasCustomPrompt="1"/>
          </p:nvPr>
        </p:nvSpPr>
        <p:spPr bwMode="gray">
          <a:xfrm rot="1500000">
            <a:off x="1066269" y="535812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pic>
        <p:nvPicPr>
          <p:cNvPr id="43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44" name="Gruppieren 4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45" name="Gruppieren 4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8" name="Gruppieren 11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7" name="Gerade Verbindung 13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feld 13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19" name="Gruppieren 11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5" name="Gerade Verbindung 13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Textfeld 13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20" name="Gruppieren 11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3" name="Gerade Verbindung 13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feld 13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21" name="Gruppieren 12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1" name="Gerade Verbindung 13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3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22" name="Gruppieren 12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9" name="Gerade Verbindung 12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2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23" name="Gruppieren 12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7" name="Gerade Verbindung 12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2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24" name="Gruppieren 12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5" name="Gerade Verbindung 1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6" name="Gruppieren 4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97" name="Gruppieren 9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6" name="Gerade Verbindung 1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7" name="Textfeld 11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4" name="Gerade Verbindung 11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Textfeld 11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2" name="Gerade Verbindung 11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Textfeld 11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0" name="Gerade Verbindung 10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Textfeld 11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8" name="Gerade Verbindung 10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Textfeld 10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6" name="Gerade Verbindung 10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7" name="Textfeld 10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4" name="Gerade Verbindung 10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Textfeld 10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7" name="Gruppieren 4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3" name="Gruppieren 7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4" name="Gruppieren 7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75" name="Gruppieren 7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6" name="Gruppieren 7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3" name="Gerade Verbindung 8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feld 8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48" name="Gruppieren 4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49" name="Gruppieren 4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0" name="Gruppieren 4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1" name="Gruppieren 5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2" name="Gruppieren 5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9" name="Gerade Verbindung 5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0" name="Textfeld 5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3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FEEBC62-D2D4-47F5-AFD8-DECB50D43BB8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4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1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2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51484" y="291603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3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51484" y="3734982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4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451484" y="4553929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5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451484" y="537287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511" y="4509121"/>
            <a:ext cx="3168364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4501" y="4509121"/>
            <a:ext cx="3168364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433332" y="4509121"/>
            <a:ext cx="3168364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 baseline="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40A818-B8B8-459D-BE5B-116E058F6DE4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1881188"/>
            <a:ext cx="3492501" cy="2627933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67213" y="1881188"/>
            <a:ext cx="3455652" cy="2627933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Bildplatzhalter 12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09195" y="1881188"/>
            <a:ext cx="3492501" cy="2627933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6" name="Gerade Verbindung 125"/>
          <p:cNvCxnSpPr/>
          <p:nvPr userDrawn="1"/>
        </p:nvCxnSpPr>
        <p:spPr bwMode="gray">
          <a:xfrm flipV="1">
            <a:off x="594518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125"/>
          <p:cNvCxnSpPr/>
          <p:nvPr userDrawn="1"/>
        </p:nvCxnSpPr>
        <p:spPr bwMode="gray">
          <a:xfrm flipV="1">
            <a:off x="4376213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25"/>
          <p:cNvCxnSpPr/>
          <p:nvPr userDrawn="1"/>
        </p:nvCxnSpPr>
        <p:spPr bwMode="gray">
          <a:xfrm flipV="1">
            <a:off x="8118193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4219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0B1B9D-5DAA-4171-A733-2FC45D043A30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0992544" y="6403717"/>
            <a:ext cx="612081" cy="331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pic>
        <p:nvPicPr>
          <p:cNvPr id="7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sp>
        <p:nvSpPr>
          <p:cNvPr id="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 flipH="1">
            <a:off x="656349" y="3103273"/>
            <a:ext cx="45720" cy="100584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12471" y="3429000"/>
            <a:ext cx="10692154" cy="1403350"/>
          </a:xfrm>
        </p:spPr>
        <p:txBody>
          <a:bodyPr tIns="0" bIns="1512000" anchor="t">
            <a:noAutofit/>
          </a:bodyPr>
          <a:lstStyle>
            <a:lvl1pPr algn="l">
              <a:defRPr sz="6000" spc="-110" baseline="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Divider slides</a:t>
            </a:r>
            <a:br>
              <a:rPr lang="en-US" noProof="0" dirty="0"/>
            </a:br>
            <a:r>
              <a:rPr lang="en-US" noProof="0" dirty="0"/>
              <a:t>with two lines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07201" y="4958464"/>
            <a:ext cx="10692154" cy="1026411"/>
          </a:xfrm>
        </p:spPr>
        <p:txBody>
          <a:bodyPr tIns="0"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buNone/>
              <a:defRPr sz="1800" cap="all" baseline="0"/>
            </a:lvl2pPr>
            <a:lvl3pPr marL="0" indent="0" algn="l"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2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bg2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11011779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536416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34112" y="2097088"/>
            <a:ext cx="5364163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457088"/>
            <a:ext cx="5364164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34112" y="2457088"/>
            <a:ext cx="537201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2097088"/>
            <a:ext cx="5364932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34112" y="2097088"/>
            <a:ext cx="5372010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500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097088"/>
            <a:ext cx="3456000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2097088"/>
            <a:ext cx="3492500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457088"/>
            <a:ext cx="349200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457088"/>
            <a:ext cx="345600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12125" y="2457088"/>
            <a:ext cx="349200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2097088"/>
            <a:ext cx="3492500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67214" y="2097088"/>
            <a:ext cx="3456000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2125" y="2097088"/>
            <a:ext cx="3492500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40A818-B8B8-459D-BE5B-116E058F6DE4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2097087"/>
            <a:ext cx="3492501" cy="2412034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67213" y="2097087"/>
            <a:ext cx="3455652" cy="2412034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Bildplatzhalter 12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09195" y="2097087"/>
            <a:ext cx="3492501" cy="2412034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511" y="4509121"/>
            <a:ext cx="3168364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  <a:p>
            <a:pPr lvl="3"/>
            <a:endParaRPr lang="en-US" noProof="0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87929" y="4509121"/>
            <a:ext cx="3134936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  <a:p>
            <a:pPr lvl="3"/>
            <a:endParaRPr lang="en-US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436261" y="4509121"/>
            <a:ext cx="3168364" cy="1475754"/>
          </a:xfrm>
        </p:spPr>
        <p:txBody>
          <a:bodyPr tIns="28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  <a:p>
            <a:pPr lvl="3"/>
            <a:endParaRPr lang="en-US" noProof="0" dirty="0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6" name="Gerade Verbindung 125"/>
          <p:cNvCxnSpPr/>
          <p:nvPr userDrawn="1"/>
        </p:nvCxnSpPr>
        <p:spPr bwMode="gray">
          <a:xfrm flipV="1">
            <a:off x="594518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125"/>
          <p:cNvCxnSpPr/>
          <p:nvPr userDrawn="1"/>
        </p:nvCxnSpPr>
        <p:spPr bwMode="gray">
          <a:xfrm flipV="1">
            <a:off x="4376213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25"/>
          <p:cNvCxnSpPr/>
          <p:nvPr userDrawn="1"/>
        </p:nvCxnSpPr>
        <p:spPr bwMode="gray">
          <a:xfrm flipV="1">
            <a:off x="8118193" y="4728949"/>
            <a:ext cx="168370" cy="35777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THANK YOU</a:t>
            </a:r>
          </a:p>
        </p:txBody>
      </p:sp>
      <p:pic>
        <p:nvPicPr>
          <p:cNvPr id="10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/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3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1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1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D232A39-4B70-8C41-A890-BC4887184C9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8" y="275115"/>
            <a:ext cx="1266825" cy="233362"/>
          </a:xfrm>
          <a:blipFill dpi="0" rotWithShape="1">
            <a:blip r:embed="rId4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D500C1-41B6-4AB1-A786-4F006FA4744D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392826025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/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3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1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1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D232A39-4B70-8C41-A890-BC4887184C9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8" y="275115"/>
            <a:ext cx="1266825" cy="233362"/>
          </a:xfrm>
          <a:blipFill dpi="0" rotWithShape="1">
            <a:blip r:embed="rId4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/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3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1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1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D232A39-4B70-8C41-A890-BC4887184C9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8" y="275115"/>
            <a:ext cx="1266825" cy="233362"/>
          </a:xfrm>
          <a:blipFill dpi="0" rotWithShape="1">
            <a:blip r:embed="rId4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P:\Projekte\MOIA\02_P170083_TEMPLATE\03_FOLIENBIBLIOTHEK\_Media\Bild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92000" cy="6859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4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40000">
                <a:srgbClr val="009DD7">
                  <a:alpha val="56000"/>
                </a:srgbClr>
              </a:gs>
              <a:gs pos="0">
                <a:srgbClr val="1AA37F">
                  <a:alpha val="64000"/>
                </a:srgbClr>
              </a:gs>
              <a:gs pos="90000">
                <a:srgbClr val="0A2737">
                  <a:alpha val="73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cxnSp>
        <p:nvCxnSpPr>
          <p:cNvPr id="20" name="Gerade Verbindung 125"/>
          <p:cNvCxnSpPr/>
          <p:nvPr userDrawn="1"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6pPr>
            <a:lvl7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7pPr>
            <a:lvl8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8pPr>
            <a:lvl9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367214" y="4184650"/>
            <a:ext cx="3456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1212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67214" y="3427563"/>
            <a:ext cx="34560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212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x Content and 1x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7234483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Hambur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080" y="1458551"/>
            <a:ext cx="10224000" cy="45041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buClr>
                <a:schemeClr val="accent1"/>
              </a:buClr>
              <a:defRPr/>
            </a:lvl2pPr>
            <a:lvl3pPr>
              <a:spcBef>
                <a:spcPts val="0"/>
              </a:spcBef>
              <a:buClr>
                <a:schemeClr val="accent1"/>
              </a:buClr>
              <a:defRPr/>
            </a:lvl3pPr>
            <a:lvl4pPr>
              <a:spcBef>
                <a:spcPts val="0"/>
              </a:spcBef>
              <a:buClr>
                <a:schemeClr val="accent1"/>
              </a:buClr>
              <a:defRPr/>
            </a:lvl4pPr>
            <a:lvl5pPr>
              <a:spcBef>
                <a:spcPts val="0"/>
              </a:spcBef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71080" y="6191595"/>
            <a:ext cx="10224000" cy="123111"/>
          </a:xfrm>
        </p:spPr>
        <p:txBody>
          <a:bodyPr wrap="none" anchor="b">
            <a:no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/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9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32" name="Foliennummernplatzhalter 31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0245" y="1460501"/>
            <a:ext cx="10224000" cy="30777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1" cap="all" baseline="0" dirty="0" smtClean="0">
                <a:solidFill>
                  <a:schemeClr val="accent4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25000"/>
              </a:lnSpc>
              <a:spcBef>
                <a:spcPts val="0"/>
              </a:spcBef>
            </a:pPr>
            <a:r>
              <a:rPr lang="en-US" dirty="0"/>
              <a:t>Click to edit SUB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8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5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/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9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5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78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7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79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5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80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193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4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1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1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2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82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89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0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83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7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8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84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5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6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06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57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6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58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4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5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59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172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3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60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0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1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61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68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9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62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66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7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63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4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07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33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5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34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3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4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5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1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2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6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9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3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7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38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5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6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9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3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4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0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41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2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08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09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31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10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9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1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7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2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5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3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3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4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5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9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6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17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627312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2"/>
                </a:solidFill>
              </a:defRPr>
            </a:lvl1pPr>
            <a:lvl2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2pPr>
            <a:lvl3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3pPr>
            <a:lvl4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4pPr>
            <a:lvl5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5pPr>
            <a:lvl6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6pPr>
            <a:lvl7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7pPr>
            <a:lvl8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8pPr>
            <a:lvl9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THANK YOU</a:t>
            </a:r>
          </a:p>
        </p:txBody>
      </p: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9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547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79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7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9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8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5619" cy="73866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785231" y="6535540"/>
            <a:ext cx="902677" cy="20518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27BDB-6C13-4E6B-8CD2-437A1BB7101C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0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6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4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de-DE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4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invGray">
          <a:xfrm>
            <a:off x="10569527" y="6548440"/>
            <a:ext cx="111838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algn="r">
              <a:spcBef>
                <a:spcPct val="0"/>
              </a:spcBef>
            </a:pPr>
            <a:fld id="{546225A7-BA4F-43EA-9682-AC1DB6E9A8D6}" type="slidenum">
              <a:rPr lang="de-DE" sz="90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pPr algn="r">
                <a:spcBef>
                  <a:spcPct val="0"/>
                </a:spcBef>
              </a:pPr>
              <a:t>‹#›</a:t>
            </a:fld>
            <a:endParaRPr lang="de-DE" sz="90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 numCol="1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alt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969478"/>
            <a:ext cx="9840000" cy="3940897"/>
          </a:xfrm>
        </p:spPr>
        <p:txBody>
          <a:bodyPr numCol="1"/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 numCol="1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 alt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" y="0"/>
            <a:ext cx="1218839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 numCol="1"/>
          <a:lstStyle>
            <a:lvl1pPr>
              <a:defRPr sz="2400" cap="none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69172"/>
          </a:xfrm>
        </p:spPr>
        <p:txBody>
          <a:bodyPr wrap="none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56000" y="1742503"/>
            <a:ext cx="9840000" cy="7196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buNone/>
              <a:defRPr sz="2133">
                <a:latin typeface="+mj-lt"/>
              </a:defRPr>
            </a:lvl2pPr>
            <a:lvl3pPr marL="0" indent="0">
              <a:lnSpc>
                <a:spcPct val="100000"/>
              </a:lnSpc>
              <a:buNone/>
              <a:defRPr sz="2133">
                <a:latin typeface="+mj-lt"/>
              </a:defRPr>
            </a:lvl3pPr>
            <a:lvl4pPr marL="0" indent="0">
              <a:lnSpc>
                <a:spcPct val="100000"/>
              </a:lnSpc>
              <a:buNone/>
              <a:defRPr sz="2133">
                <a:latin typeface="+mj-lt"/>
              </a:defRPr>
            </a:lvl4pPr>
            <a:lvl5pPr marL="0" indent="0">
              <a:lnSpc>
                <a:spcPct val="100000"/>
              </a:lnSpc>
              <a:buNone/>
              <a:defRPr sz="2133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ßzeile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8" name="think-cell Folie" r:id="rId5" imgW="324" imgH="324" progId="TCLayout.ActiveDocument.1">
                  <p:embed/>
                </p:oleObj>
              </mc:Choice>
              <mc:Fallback>
                <p:oleObj name="think-cell Foli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5626079" y="6547739"/>
            <a:ext cx="902677" cy="15388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5FE04F3E-9EA2-4F77-852B-BEED2EF29E47}" type="slidenum">
              <a:rPr lang="de-DE" altLang="de-DE" smtClean="0">
                <a:solidFill>
                  <a:srgbClr val="000000"/>
                </a:solidFill>
              </a:rPr>
              <a:pPr/>
              <a:t>‹#›</a:t>
            </a:fld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82601" y="1757363"/>
            <a:ext cx="11205307" cy="4589463"/>
          </a:xfrm>
        </p:spPr>
        <p:txBody>
          <a:bodyPr/>
          <a:lstStyle>
            <a:lvl2pPr marL="190495" indent="-188909">
              <a:buFont typeface="Arial" panose="020B0604020202020204" pitchFamily="34" charset="0"/>
              <a:buChar char="•"/>
              <a:defRPr/>
            </a:lvl2pPr>
            <a:lvl3pPr marL="380990" indent="-188909">
              <a:buFont typeface="Arial" panose="020B0604020202020204" pitchFamily="34" charset="0"/>
              <a:buChar char="•"/>
              <a:defRPr/>
            </a:lvl3pPr>
            <a:lvl4pPr marL="571486" indent="-188909">
              <a:buFont typeface="Arial" panose="020B0604020202020204" pitchFamily="34" charset="0"/>
              <a:buChar char="•"/>
              <a:defRPr/>
            </a:lvl4pPr>
            <a:lvl5pPr marL="761981" indent="-188909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-1082644" y="1066929"/>
            <a:ext cx="841847" cy="216000"/>
          </a:xfr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1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-1082644" y="1427445"/>
            <a:ext cx="841847" cy="216000"/>
          </a:xfrm>
          <a:solidFill>
            <a:srgbClr val="D4D6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bg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-1082644" y="1787961"/>
            <a:ext cx="841847" cy="216000"/>
          </a:xfr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-1082644" y="2148477"/>
            <a:ext cx="841847" cy="216000"/>
          </a:xfrm>
          <a:solidFill>
            <a:schemeClr val="accent1"/>
          </a:solidFill>
          <a:ln>
            <a:noFill/>
          </a:ln>
          <a:effectLst/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1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-1082644" y="2508993"/>
            <a:ext cx="841847" cy="216000"/>
          </a:xfrm>
          <a:solidFill>
            <a:srgbClr val="00638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2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082644" y="2869509"/>
            <a:ext cx="841847" cy="216000"/>
          </a:xfrm>
          <a:solidFill>
            <a:srgbClr val="5F19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5F1939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-1082644" y="3230025"/>
            <a:ext cx="841847" cy="216000"/>
          </a:xfrm>
          <a:solidFill>
            <a:srgbClr val="80B0C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80B0C8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-1082644" y="3590541"/>
            <a:ext cx="841847" cy="216000"/>
          </a:xfrm>
          <a:solidFill>
            <a:srgbClr val="4C53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4C535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-1082644" y="3951057"/>
            <a:ext cx="841847" cy="216000"/>
          </a:xfrm>
          <a:solidFill>
            <a:srgbClr val="0046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00466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-1082644" y="4311573"/>
            <a:ext cx="841847" cy="216000"/>
          </a:xfrm>
          <a:solidFill>
            <a:srgbClr val="C6DFE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6DFE7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-1082644" y="4672089"/>
            <a:ext cx="841847" cy="216000"/>
          </a:xfrm>
          <a:solidFill>
            <a:srgbClr val="A21E4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A21E4D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-1082644" y="5032605"/>
            <a:ext cx="841847" cy="216000"/>
          </a:xfrm>
          <a:solidFill>
            <a:srgbClr val="D8AA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D8AA00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-1082644" y="5393121"/>
            <a:ext cx="841847" cy="216000"/>
          </a:xfrm>
          <a:solidFill>
            <a:srgbClr val="F6E5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F6E5BC"/>
                </a:solidFill>
                <a:latin typeface="Arial" charset="0"/>
                <a:ea typeface="ＭＳ Ｐゴシック" pitchFamily="-48" charset="-128"/>
              </a:defRPr>
            </a:lvl1pPr>
          </a:lstStyle>
          <a:p>
            <a:pPr lvl="0" algn="ctr" eaLnBrk="0" hangingPunct="0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-1082644" y="5753637"/>
            <a:ext cx="841847" cy="216000"/>
          </a:xfrm>
          <a:solidFill>
            <a:srgbClr val="95A84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95A844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-1082644" y="6114149"/>
            <a:ext cx="841847" cy="216000"/>
          </a:xfrm>
          <a:solidFill>
            <a:srgbClr val="C2CC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2CCA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</p:spTree>
    <p:custDataLst>
      <p:tags r:id="rId2"/>
    </p:custDataLst>
    <p:extLst/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Überschrif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1084384" y="1241427"/>
            <a:ext cx="5421925" cy="184667"/>
          </a:xfr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 anchor="ctr"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85231" y="6568882"/>
            <a:ext cx="902677" cy="1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FA525FF-A6BF-46E0-8713-820BA546BE08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6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Line 14"/>
          <p:cNvSpPr>
            <a:spLocks noChangeShapeType="1"/>
          </p:cNvSpPr>
          <p:nvPr userDrawn="1"/>
        </p:nvSpPr>
        <p:spPr bwMode="gray">
          <a:xfrm>
            <a:off x="513863" y="762000"/>
            <a:ext cx="11166231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10" name="Picture 15" descr="VWAG_PPT_Logo_Folie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3183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59816"/>
            <a:ext cx="9840000" cy="806400"/>
          </a:xfrm>
        </p:spPr>
        <p:txBody>
          <a:bodyPr wrap="non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402197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1951" cap="none" baseline="0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42637" y="6293090"/>
            <a:ext cx="296984" cy="410369"/>
          </a:xfrm>
        </p:spPr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1149351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el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297" algn="ctr">
              <a:spcBef>
                <a:spcPts val="0"/>
              </a:spcBef>
              <a:buSzTx/>
              <a:buNone/>
              <a:defRPr sz="2200"/>
            </a:lvl2pPr>
            <a:lvl3pPr marL="0" indent="228594" algn="ctr">
              <a:spcBef>
                <a:spcPts val="0"/>
              </a:spcBef>
              <a:buSzTx/>
              <a:buNone/>
              <a:defRPr sz="2200"/>
            </a:lvl3pPr>
            <a:lvl4pPr marL="0" indent="342891" algn="ctr">
              <a:spcBef>
                <a:spcPts val="0"/>
              </a:spcBef>
              <a:buSzTx/>
              <a:buNone/>
              <a:defRPr sz="2200"/>
            </a:lvl4pPr>
            <a:lvl5pPr marL="0" indent="457189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10242637" y="6293090"/>
            <a:ext cx="296984" cy="41036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255483"/>
            <a:ext cx="9840000" cy="808149"/>
          </a:xfrm>
        </p:spPr>
        <p:txBody>
          <a:bodyPr wrap="none"/>
          <a:lstStyle>
            <a:lvl1pPr>
              <a:defRPr sz="6667" baseline="0">
                <a:solidFill>
                  <a:schemeClr val="accent4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3952736"/>
            <a:ext cx="9840000" cy="1752600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2133" baseline="0">
                <a:solidFill>
                  <a:schemeClr val="accent5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016563"/>
            <a:ext cx="9840000" cy="806400"/>
          </a:xfrm>
        </p:spPr>
        <p:txBody>
          <a:bodyPr wrap="none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6667" cap="all" baseline="0">
                <a:solidFill>
                  <a:schemeClr val="accent4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56000" y="6017363"/>
            <a:ext cx="9840000" cy="360000"/>
          </a:xfr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1pPr>
            <a:lvl2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2pPr>
            <a:lvl3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3pPr>
            <a:lvl4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4pPr>
            <a:lvl5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9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255483"/>
            <a:ext cx="9840000" cy="808149"/>
          </a:xfrm>
        </p:spPr>
        <p:txBody>
          <a:bodyPr wrap="none"/>
          <a:lstStyle>
            <a:lvl1pPr>
              <a:defRPr sz="6667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3952736"/>
            <a:ext cx="9840000" cy="1752600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2133" baseline="0">
                <a:solidFill>
                  <a:schemeClr val="accent5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016563"/>
            <a:ext cx="9840000" cy="806400"/>
          </a:xfrm>
        </p:spPr>
        <p:txBody>
          <a:bodyPr wrap="none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6667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56000" y="6017363"/>
            <a:ext cx="9840000" cy="360000"/>
          </a:xfr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1pPr>
            <a:lvl2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2pPr>
            <a:lvl3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3pPr>
            <a:lvl4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4pPr>
            <a:lvl5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59816"/>
            <a:ext cx="9840000" cy="806400"/>
          </a:xfrm>
        </p:spPr>
        <p:txBody>
          <a:bodyPr wrap="non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61565"/>
            <a:ext cx="9840000" cy="1604284"/>
          </a:xfrm>
        </p:spPr>
        <p:txBody>
          <a:bodyPr wrap="squar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92201" y="5176300"/>
            <a:ext cx="7871359" cy="96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59816"/>
            <a:ext cx="9840000" cy="806400"/>
          </a:xfrm>
        </p:spPr>
        <p:txBody>
          <a:bodyPr wrap="non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2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61565"/>
            <a:ext cx="9840000" cy="1604284"/>
          </a:xfrm>
        </p:spPr>
        <p:txBody>
          <a:bodyPr wrap="squar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92201" y="5176300"/>
            <a:ext cx="7871359" cy="96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Hambur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59816"/>
            <a:ext cx="9840000" cy="806400"/>
          </a:xfrm>
        </p:spPr>
        <p:txBody>
          <a:bodyPr wrap="non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(2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61565"/>
            <a:ext cx="9840000" cy="1604284"/>
          </a:xfrm>
        </p:spPr>
        <p:txBody>
          <a:bodyPr wrap="squar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92201" y="5176300"/>
            <a:ext cx="7871359" cy="96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Shape 21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7223111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000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61565"/>
            <a:ext cx="9840000" cy="1604284"/>
          </a:xfrm>
        </p:spPr>
        <p:txBody>
          <a:bodyPr wrap="squar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000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92201" y="5176300"/>
            <a:ext cx="7871359" cy="96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1058333" y="593417"/>
            <a:ext cx="9849731" cy="3668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solidFill>
                  <a:srgbClr val="0A2737"/>
                </a:solidFill>
                <a:latin typeface="MarkPro-Bold"/>
              </a:rPr>
              <a:t>Agend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58333" y="1227667"/>
            <a:ext cx="9840000" cy="72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tIns="36000"/>
          <a:lstStyle>
            <a:lvl1pPr marL="575986" indent="-575986">
              <a:buSzPct val="100000"/>
              <a:buFont typeface="+mj-lt"/>
              <a:buNone/>
              <a:defRPr sz="1600">
                <a:latin typeface="MarkPro-Medium" pitchFamily="34" charset="0"/>
              </a:defRPr>
            </a:lvl1pPr>
            <a:lvl2pPr marL="575986" indent="0">
              <a:buNone/>
              <a:defRPr/>
            </a:lvl2pPr>
            <a:lvl3pPr marL="575986" indent="0">
              <a:buNone/>
              <a:defRPr/>
            </a:lvl3pPr>
            <a:lvl4pPr marL="575986" indent="0">
              <a:buNone/>
              <a:defRPr/>
            </a:lvl4pPr>
            <a:lvl5pPr marL="5759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058333" y="2220829"/>
            <a:ext cx="9840000" cy="72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tIns="36000"/>
          <a:lstStyle>
            <a:lvl1pPr marL="575986" indent="-575986">
              <a:buSzPct val="100000"/>
              <a:buFont typeface="+mj-lt"/>
              <a:buNone/>
              <a:defRPr sz="1600">
                <a:latin typeface="MarkPro-Medium" pitchFamily="34" charset="0"/>
              </a:defRPr>
            </a:lvl1pPr>
            <a:lvl2pPr marL="575986" indent="0">
              <a:buNone/>
              <a:defRPr/>
            </a:lvl2pPr>
            <a:lvl3pPr marL="575986" indent="0">
              <a:buNone/>
              <a:defRPr/>
            </a:lvl3pPr>
            <a:lvl4pPr marL="575986" indent="0">
              <a:buNone/>
              <a:defRPr/>
            </a:lvl4pPr>
            <a:lvl5pPr marL="5759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058333" y="3213992"/>
            <a:ext cx="9840000" cy="72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tIns="36000"/>
          <a:lstStyle>
            <a:lvl1pPr marL="575986" indent="-575986">
              <a:buSzPct val="100000"/>
              <a:buFont typeface="+mj-lt"/>
              <a:buNone/>
              <a:defRPr sz="1600">
                <a:latin typeface="MarkPro-Medium" pitchFamily="34" charset="0"/>
              </a:defRPr>
            </a:lvl1pPr>
            <a:lvl2pPr marL="575986" indent="0">
              <a:buNone/>
              <a:defRPr/>
            </a:lvl2pPr>
            <a:lvl3pPr marL="575986" indent="0">
              <a:buNone/>
              <a:defRPr/>
            </a:lvl3pPr>
            <a:lvl4pPr marL="575986" indent="0">
              <a:buNone/>
              <a:defRPr/>
            </a:lvl4pPr>
            <a:lvl5pPr marL="5759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1058333" y="4207155"/>
            <a:ext cx="9840000" cy="72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tIns="36000"/>
          <a:lstStyle>
            <a:lvl1pPr marL="575986" indent="-575986">
              <a:buSzPct val="100000"/>
              <a:buFont typeface="+mj-lt"/>
              <a:buNone/>
              <a:defRPr sz="1600">
                <a:latin typeface="MarkPro-Medium" pitchFamily="34" charset="0"/>
              </a:defRPr>
            </a:lvl1pPr>
            <a:lvl2pPr marL="575986" indent="0">
              <a:buNone/>
              <a:defRPr/>
            </a:lvl2pPr>
            <a:lvl3pPr marL="575986" indent="0">
              <a:buNone/>
              <a:defRPr/>
            </a:lvl3pPr>
            <a:lvl4pPr marL="575986" indent="0">
              <a:buNone/>
              <a:defRPr/>
            </a:lvl4pPr>
            <a:lvl5pPr marL="5759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058333" y="5200317"/>
            <a:ext cx="9840000" cy="72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tIns="36000"/>
          <a:lstStyle>
            <a:lvl1pPr marL="575986" indent="-575986">
              <a:buSzPct val="100000"/>
              <a:buFont typeface="+mj-lt"/>
              <a:buNone/>
              <a:defRPr sz="1600">
                <a:latin typeface="MarkPro-Medium" pitchFamily="34" charset="0"/>
              </a:defRPr>
            </a:lvl1pPr>
            <a:lvl2pPr marL="575986" indent="0">
              <a:buNone/>
              <a:defRPr/>
            </a:lvl2pPr>
            <a:lvl3pPr marL="575986" indent="0">
              <a:buNone/>
              <a:defRPr/>
            </a:lvl3pPr>
            <a:lvl4pPr marL="575986" indent="0">
              <a:buNone/>
              <a:defRPr/>
            </a:lvl4pPr>
            <a:lvl5pPr marL="5759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/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969478"/>
            <a:ext cx="9840000" cy="39408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69172"/>
          </a:xfrm>
        </p:spPr>
        <p:txBody>
          <a:bodyPr wrap="none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56000" y="1742503"/>
            <a:ext cx="9840000" cy="7196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133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buNone/>
              <a:defRPr sz="2133">
                <a:latin typeface="+mj-lt"/>
              </a:defRPr>
            </a:lvl2pPr>
            <a:lvl3pPr marL="0" indent="0">
              <a:lnSpc>
                <a:spcPct val="100000"/>
              </a:lnSpc>
              <a:buNone/>
              <a:defRPr sz="2133">
                <a:latin typeface="+mj-lt"/>
              </a:defRPr>
            </a:lvl3pPr>
            <a:lvl4pPr marL="0" indent="0">
              <a:lnSpc>
                <a:spcPct val="100000"/>
              </a:lnSpc>
              <a:buNone/>
              <a:defRPr sz="2133">
                <a:latin typeface="+mj-lt"/>
              </a:defRPr>
            </a:lvl4pPr>
            <a:lvl5pPr marL="0" indent="0">
              <a:lnSpc>
                <a:spcPct val="100000"/>
              </a:lnSpc>
              <a:buNone/>
              <a:defRPr sz="2133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 co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969478"/>
            <a:ext cx="4560000" cy="39408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6336000" y="1969477"/>
            <a:ext cx="4560000" cy="3940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(2 co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69172"/>
          </a:xfrm>
        </p:spPr>
        <p:txBody>
          <a:bodyPr wrap="none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2740800"/>
            <a:ext cx="4560000" cy="31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56000" y="1742503"/>
            <a:ext cx="9840000" cy="7196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133">
                <a:solidFill>
                  <a:schemeClr val="accent5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buNone/>
              <a:defRPr sz="2133">
                <a:latin typeface="+mj-lt"/>
              </a:defRPr>
            </a:lvl2pPr>
            <a:lvl3pPr marL="0" indent="0">
              <a:lnSpc>
                <a:spcPct val="100000"/>
              </a:lnSpc>
              <a:buNone/>
              <a:defRPr sz="2133">
                <a:latin typeface="+mj-lt"/>
              </a:defRPr>
            </a:lvl3pPr>
            <a:lvl4pPr marL="0" indent="0">
              <a:lnSpc>
                <a:spcPct val="100000"/>
              </a:lnSpc>
              <a:buNone/>
              <a:defRPr sz="2133">
                <a:latin typeface="+mj-lt"/>
              </a:defRPr>
            </a:lvl4pPr>
            <a:lvl5pPr marL="0" indent="0">
              <a:lnSpc>
                <a:spcPct val="100000"/>
              </a:lnSpc>
              <a:buNone/>
              <a:defRPr sz="2133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5"/>
          </p:nvPr>
        </p:nvSpPr>
        <p:spPr>
          <a:xfrm>
            <a:off x="6336000" y="2740800"/>
            <a:ext cx="4560000" cy="31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mall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2400" cap="none" baseline="0">
                <a:latin typeface="MarkPro-Bold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227017"/>
            <a:ext cx="9840000" cy="468335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mall), Content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2400" cap="none" baseline="0">
                <a:latin typeface="MarkPro-Bold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227017"/>
            <a:ext cx="9840000" cy="370373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058333" y="5189528"/>
            <a:ext cx="9840000" cy="720000"/>
          </a:xfrm>
          <a:solidFill>
            <a:schemeClr val="accent5">
              <a:lumMod val="20000"/>
              <a:lumOff val="80000"/>
            </a:schemeClr>
          </a:solidFill>
        </p:spPr>
        <p:txBody>
          <a:bodyPr lIns="72000" anchor="ctr" anchorCtr="0"/>
          <a:lstStyle>
            <a:lvl1pPr marL="191995" indent="-191995">
              <a:lnSpc>
                <a:spcPct val="114000"/>
              </a:lnSpc>
              <a:buFont typeface="Arial" panose="020B0604020202020204" pitchFamily="34" charset="0"/>
              <a:buChar char="•"/>
              <a:defRPr sz="1600">
                <a:latin typeface="MarkPro-Medium" pitchFamily="34" charset="0"/>
              </a:defRPr>
            </a:lvl1pPr>
            <a:lvl2pPr marL="191995" indent="-191995">
              <a:buFont typeface="Arial" panose="020B0604020202020204" pitchFamily="34" charset="0"/>
              <a:buChar char="•"/>
              <a:defRPr sz="1600">
                <a:latin typeface="MarkPro-Medium" pitchFamily="34" charset="0"/>
              </a:defRPr>
            </a:lvl2pPr>
            <a:lvl3pPr marL="191995" indent="-191995">
              <a:buFont typeface="Arial" panose="020B0604020202020204" pitchFamily="34" charset="0"/>
              <a:buChar char="•"/>
              <a:defRPr sz="1600">
                <a:latin typeface="MarkPro-Medium" pitchFamily="34" charset="0"/>
              </a:defRPr>
            </a:lvl3pPr>
            <a:lvl4pPr marL="191995" indent="-191995">
              <a:buFont typeface="Arial" panose="020B0604020202020204" pitchFamily="34" charset="0"/>
              <a:buChar char="•"/>
              <a:defRPr sz="1600">
                <a:latin typeface="MarkPro-Medium" pitchFamily="34" charset="0"/>
              </a:defRPr>
            </a:lvl4pPr>
            <a:lvl5pPr marL="191995" indent="-191995">
              <a:buFont typeface="Arial" panose="020B0604020202020204" pitchFamily="34" charset="0"/>
              <a:buChar char="•"/>
              <a:defRPr sz="1600">
                <a:latin typeface="MarkPro-Medium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2400" cap="none" baseline="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grpSp>
        <p:nvGrpSpPr>
          <p:cNvPr id="139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40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13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32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3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14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30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1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15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28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9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16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26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7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17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24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5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18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2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3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19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0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1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41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92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11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2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93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09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0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94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07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95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05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6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96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03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4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97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01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2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98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9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42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68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90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69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8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9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70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6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7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1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4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72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2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3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73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0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1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4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8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9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75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76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43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4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66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7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45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4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6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2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3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7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0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1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8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8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9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9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6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7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50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4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5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51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52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Datumsplatzhalter 1"/>
          <p:cNvSpPr>
            <a:spLocks noGrp="1"/>
          </p:cNvSpPr>
          <p:nvPr userDrawn="1"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08883ED7-E406-48EB-A548-852435A1E26E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37" name="Group 236"/>
          <p:cNvGrpSpPr/>
          <p:nvPr userDrawn="1"/>
        </p:nvGrpSpPr>
        <p:grpSpPr bwMode="gray">
          <a:xfrm>
            <a:off x="3176763" y="2550647"/>
            <a:ext cx="5845793" cy="2011284"/>
            <a:chOff x="3176763" y="2613402"/>
            <a:chExt cx="5845793" cy="2011284"/>
          </a:xfrm>
        </p:grpSpPr>
        <p:pic>
          <p:nvPicPr>
            <p:cNvPr id="121" name="Picture 2" descr="P:\Projekte\MOIA\XX_CORPORATE_DESIGN\_LOGO\MOIA_Logo_White\logo_white_big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76763" y="2613402"/>
              <a:ext cx="5845793" cy="13005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36" name="Group 235"/>
            <p:cNvGrpSpPr/>
            <p:nvPr userDrawn="1"/>
          </p:nvGrpSpPr>
          <p:grpSpPr bwMode="gray">
            <a:xfrm>
              <a:off x="4294677" y="4432829"/>
              <a:ext cx="3590654" cy="191857"/>
              <a:chOff x="4294677" y="4432829"/>
              <a:chExt cx="3590654" cy="191857"/>
            </a:xfrm>
            <a:solidFill>
              <a:schemeClr val="bg1"/>
            </a:solidFill>
          </p:grpSpPr>
          <p:sp>
            <p:nvSpPr>
              <p:cNvPr id="7" name="Freeform 6"/>
              <p:cNvSpPr>
                <a:spLocks/>
              </p:cNvSpPr>
              <p:nvPr userDrawn="1"/>
            </p:nvSpPr>
            <p:spPr bwMode="gray">
              <a:xfrm>
                <a:off x="4294677" y="4435494"/>
                <a:ext cx="147890" cy="189192"/>
              </a:xfrm>
              <a:custGeom>
                <a:avLst/>
                <a:gdLst>
                  <a:gd name="T0" fmla="*/ 28 w 47"/>
                  <a:gd name="T1" fmla="*/ 26 h 60"/>
                  <a:gd name="T2" fmla="*/ 24 w 47"/>
                  <a:gd name="T3" fmla="*/ 25 h 60"/>
                  <a:gd name="T4" fmla="*/ 12 w 47"/>
                  <a:gd name="T5" fmla="*/ 17 h 60"/>
                  <a:gd name="T6" fmla="*/ 25 w 47"/>
                  <a:gd name="T7" fmla="*/ 8 h 60"/>
                  <a:gd name="T8" fmla="*/ 42 w 47"/>
                  <a:gd name="T9" fmla="*/ 14 h 60"/>
                  <a:gd name="T10" fmla="*/ 47 w 47"/>
                  <a:gd name="T11" fmla="*/ 6 h 60"/>
                  <a:gd name="T12" fmla="*/ 25 w 47"/>
                  <a:gd name="T13" fmla="*/ 0 h 60"/>
                  <a:gd name="T14" fmla="*/ 2 w 47"/>
                  <a:gd name="T15" fmla="*/ 18 h 60"/>
                  <a:gd name="T16" fmla="*/ 20 w 47"/>
                  <a:gd name="T17" fmla="*/ 34 h 60"/>
                  <a:gd name="T18" fmla="*/ 24 w 47"/>
                  <a:gd name="T19" fmla="*/ 35 h 60"/>
                  <a:gd name="T20" fmla="*/ 37 w 47"/>
                  <a:gd name="T21" fmla="*/ 43 h 60"/>
                  <a:gd name="T22" fmla="*/ 24 w 47"/>
                  <a:gd name="T23" fmla="*/ 51 h 60"/>
                  <a:gd name="T24" fmla="*/ 5 w 47"/>
                  <a:gd name="T25" fmla="*/ 45 h 60"/>
                  <a:gd name="T26" fmla="*/ 0 w 47"/>
                  <a:gd name="T27" fmla="*/ 52 h 60"/>
                  <a:gd name="T28" fmla="*/ 24 w 47"/>
                  <a:gd name="T29" fmla="*/ 60 h 60"/>
                  <a:gd name="T30" fmla="*/ 47 w 47"/>
                  <a:gd name="T31" fmla="*/ 42 h 60"/>
                  <a:gd name="T32" fmla="*/ 28 w 47"/>
                  <a:gd name="T33" fmla="*/ 2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60">
                    <a:moveTo>
                      <a:pt x="28" y="26"/>
                    </a:moveTo>
                    <a:cubicBezTo>
                      <a:pt x="24" y="25"/>
                      <a:pt x="24" y="25"/>
                      <a:pt x="24" y="25"/>
                    </a:cubicBezTo>
                    <a:cubicBezTo>
                      <a:pt x="17" y="24"/>
                      <a:pt x="12" y="22"/>
                      <a:pt x="12" y="17"/>
                    </a:cubicBezTo>
                    <a:cubicBezTo>
                      <a:pt x="12" y="12"/>
                      <a:pt x="17" y="8"/>
                      <a:pt x="25" y="8"/>
                    </a:cubicBezTo>
                    <a:cubicBezTo>
                      <a:pt x="31" y="8"/>
                      <a:pt x="37" y="10"/>
                      <a:pt x="42" y="14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1" y="2"/>
                      <a:pt x="34" y="0"/>
                      <a:pt x="25" y="0"/>
                    </a:cubicBezTo>
                    <a:cubicBezTo>
                      <a:pt x="13" y="0"/>
                      <a:pt x="2" y="6"/>
                      <a:pt x="2" y="18"/>
                    </a:cubicBezTo>
                    <a:cubicBezTo>
                      <a:pt x="2" y="29"/>
                      <a:pt x="11" y="33"/>
                      <a:pt x="20" y="34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33" y="36"/>
                      <a:pt x="37" y="38"/>
                      <a:pt x="37" y="43"/>
                    </a:cubicBezTo>
                    <a:cubicBezTo>
                      <a:pt x="37" y="48"/>
                      <a:pt x="31" y="51"/>
                      <a:pt x="24" y="51"/>
                    </a:cubicBezTo>
                    <a:cubicBezTo>
                      <a:pt x="17" y="51"/>
                      <a:pt x="9" y="49"/>
                      <a:pt x="5" y="45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6" y="58"/>
                      <a:pt x="16" y="60"/>
                      <a:pt x="24" y="60"/>
                    </a:cubicBezTo>
                    <a:cubicBezTo>
                      <a:pt x="36" y="60"/>
                      <a:pt x="47" y="54"/>
                      <a:pt x="47" y="42"/>
                    </a:cubicBezTo>
                    <a:cubicBezTo>
                      <a:pt x="47" y="31"/>
                      <a:pt x="38" y="27"/>
                      <a:pt x="28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7"/>
              <p:cNvSpPr>
                <a:spLocks noEditPoints="1"/>
              </p:cNvSpPr>
              <p:nvPr userDrawn="1"/>
            </p:nvSpPr>
            <p:spPr bwMode="gray">
              <a:xfrm>
                <a:off x="4533166" y="4432829"/>
                <a:ext cx="195854" cy="191857"/>
              </a:xfrm>
              <a:custGeom>
                <a:avLst/>
                <a:gdLst>
                  <a:gd name="T0" fmla="*/ 31 w 62"/>
                  <a:gd name="T1" fmla="*/ 0 h 61"/>
                  <a:gd name="T2" fmla="*/ 0 w 62"/>
                  <a:gd name="T3" fmla="*/ 31 h 61"/>
                  <a:gd name="T4" fmla="*/ 31 w 62"/>
                  <a:gd name="T5" fmla="*/ 61 h 61"/>
                  <a:gd name="T6" fmla="*/ 62 w 62"/>
                  <a:gd name="T7" fmla="*/ 31 h 61"/>
                  <a:gd name="T8" fmla="*/ 31 w 62"/>
                  <a:gd name="T9" fmla="*/ 0 h 61"/>
                  <a:gd name="T10" fmla="*/ 31 w 62"/>
                  <a:gd name="T11" fmla="*/ 52 h 61"/>
                  <a:gd name="T12" fmla="*/ 10 w 62"/>
                  <a:gd name="T13" fmla="*/ 31 h 61"/>
                  <a:gd name="T14" fmla="*/ 31 w 62"/>
                  <a:gd name="T15" fmla="*/ 10 h 61"/>
                  <a:gd name="T16" fmla="*/ 52 w 62"/>
                  <a:gd name="T17" fmla="*/ 31 h 61"/>
                  <a:gd name="T18" fmla="*/ 31 w 62"/>
                  <a:gd name="T19" fmla="*/ 5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61">
                    <a:moveTo>
                      <a:pt x="31" y="0"/>
                    </a:moveTo>
                    <a:cubicBezTo>
                      <a:pt x="13" y="0"/>
                      <a:pt x="0" y="13"/>
                      <a:pt x="0" y="31"/>
                    </a:cubicBezTo>
                    <a:cubicBezTo>
                      <a:pt x="0" y="48"/>
                      <a:pt x="13" y="61"/>
                      <a:pt x="31" y="61"/>
                    </a:cubicBezTo>
                    <a:cubicBezTo>
                      <a:pt x="49" y="61"/>
                      <a:pt x="62" y="48"/>
                      <a:pt x="62" y="31"/>
                    </a:cubicBezTo>
                    <a:cubicBezTo>
                      <a:pt x="62" y="13"/>
                      <a:pt x="49" y="0"/>
                      <a:pt x="31" y="0"/>
                    </a:cubicBezTo>
                    <a:close/>
                    <a:moveTo>
                      <a:pt x="31" y="52"/>
                    </a:moveTo>
                    <a:cubicBezTo>
                      <a:pt x="19" y="52"/>
                      <a:pt x="10" y="44"/>
                      <a:pt x="10" y="31"/>
                    </a:cubicBezTo>
                    <a:cubicBezTo>
                      <a:pt x="10" y="18"/>
                      <a:pt x="19" y="10"/>
                      <a:pt x="31" y="10"/>
                    </a:cubicBezTo>
                    <a:cubicBezTo>
                      <a:pt x="43" y="10"/>
                      <a:pt x="52" y="18"/>
                      <a:pt x="52" y="31"/>
                    </a:cubicBezTo>
                    <a:cubicBezTo>
                      <a:pt x="52" y="44"/>
                      <a:pt x="43" y="52"/>
                      <a:pt x="31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/>
              <p:cNvSpPr>
                <a:spLocks/>
              </p:cNvSpPr>
              <p:nvPr userDrawn="1"/>
            </p:nvSpPr>
            <p:spPr bwMode="gray">
              <a:xfrm>
                <a:off x="4810293" y="4432829"/>
                <a:ext cx="173204" cy="191857"/>
              </a:xfrm>
              <a:custGeom>
                <a:avLst/>
                <a:gdLst>
                  <a:gd name="T0" fmla="*/ 31 w 55"/>
                  <a:gd name="T1" fmla="*/ 10 h 61"/>
                  <a:gd name="T2" fmla="*/ 48 w 55"/>
                  <a:gd name="T3" fmla="*/ 18 h 61"/>
                  <a:gd name="T4" fmla="*/ 55 w 55"/>
                  <a:gd name="T5" fmla="*/ 13 h 61"/>
                  <a:gd name="T6" fmla="*/ 31 w 55"/>
                  <a:gd name="T7" fmla="*/ 0 h 61"/>
                  <a:gd name="T8" fmla="*/ 0 w 55"/>
                  <a:gd name="T9" fmla="*/ 31 h 61"/>
                  <a:gd name="T10" fmla="*/ 31 w 55"/>
                  <a:gd name="T11" fmla="*/ 61 h 61"/>
                  <a:gd name="T12" fmla="*/ 55 w 55"/>
                  <a:gd name="T13" fmla="*/ 49 h 61"/>
                  <a:gd name="T14" fmla="*/ 47 w 55"/>
                  <a:gd name="T15" fmla="*/ 44 h 61"/>
                  <a:gd name="T16" fmla="*/ 31 w 55"/>
                  <a:gd name="T17" fmla="*/ 52 h 61"/>
                  <a:gd name="T18" fmla="*/ 10 w 55"/>
                  <a:gd name="T19" fmla="*/ 31 h 61"/>
                  <a:gd name="T20" fmla="*/ 31 w 55"/>
                  <a:gd name="T21" fmla="*/ 1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" h="61">
                    <a:moveTo>
                      <a:pt x="31" y="10"/>
                    </a:moveTo>
                    <a:cubicBezTo>
                      <a:pt x="38" y="10"/>
                      <a:pt x="44" y="13"/>
                      <a:pt x="48" y="18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1" y="5"/>
                      <a:pt x="42" y="0"/>
                      <a:pt x="31" y="0"/>
                    </a:cubicBezTo>
                    <a:cubicBezTo>
                      <a:pt x="13" y="0"/>
                      <a:pt x="0" y="13"/>
                      <a:pt x="0" y="31"/>
                    </a:cubicBezTo>
                    <a:cubicBezTo>
                      <a:pt x="0" y="48"/>
                      <a:pt x="13" y="61"/>
                      <a:pt x="31" y="61"/>
                    </a:cubicBezTo>
                    <a:cubicBezTo>
                      <a:pt x="41" y="61"/>
                      <a:pt x="50" y="57"/>
                      <a:pt x="55" y="49"/>
                    </a:cubicBezTo>
                    <a:cubicBezTo>
                      <a:pt x="47" y="44"/>
                      <a:pt x="47" y="44"/>
                      <a:pt x="47" y="44"/>
                    </a:cubicBezTo>
                    <a:cubicBezTo>
                      <a:pt x="44" y="49"/>
                      <a:pt x="38" y="52"/>
                      <a:pt x="31" y="52"/>
                    </a:cubicBezTo>
                    <a:cubicBezTo>
                      <a:pt x="19" y="52"/>
                      <a:pt x="10" y="44"/>
                      <a:pt x="10" y="31"/>
                    </a:cubicBezTo>
                    <a:cubicBezTo>
                      <a:pt x="10" y="18"/>
                      <a:pt x="19" y="10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Rectangle 9"/>
              <p:cNvSpPr>
                <a:spLocks noChangeArrowheads="1"/>
              </p:cNvSpPr>
              <p:nvPr userDrawn="1"/>
            </p:nvSpPr>
            <p:spPr bwMode="gray">
              <a:xfrm>
                <a:off x="5087419" y="4438159"/>
                <a:ext cx="27979" cy="18253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 noEditPoints="1"/>
              </p:cNvSpPr>
              <p:nvPr userDrawn="1"/>
            </p:nvSpPr>
            <p:spPr bwMode="gray">
              <a:xfrm>
                <a:off x="5212659" y="4438159"/>
                <a:ext cx="182530" cy="182530"/>
              </a:xfrm>
              <a:custGeom>
                <a:avLst/>
                <a:gdLst>
                  <a:gd name="T0" fmla="*/ 55 w 137"/>
                  <a:gd name="T1" fmla="*/ 0 h 137"/>
                  <a:gd name="T2" fmla="*/ 0 w 137"/>
                  <a:gd name="T3" fmla="*/ 137 h 137"/>
                  <a:gd name="T4" fmla="*/ 24 w 137"/>
                  <a:gd name="T5" fmla="*/ 137 h 137"/>
                  <a:gd name="T6" fmla="*/ 38 w 137"/>
                  <a:gd name="T7" fmla="*/ 102 h 137"/>
                  <a:gd name="T8" fmla="*/ 100 w 137"/>
                  <a:gd name="T9" fmla="*/ 102 h 137"/>
                  <a:gd name="T10" fmla="*/ 114 w 137"/>
                  <a:gd name="T11" fmla="*/ 137 h 137"/>
                  <a:gd name="T12" fmla="*/ 137 w 137"/>
                  <a:gd name="T13" fmla="*/ 137 h 137"/>
                  <a:gd name="T14" fmla="*/ 83 w 137"/>
                  <a:gd name="T15" fmla="*/ 0 h 137"/>
                  <a:gd name="T16" fmla="*/ 55 w 137"/>
                  <a:gd name="T17" fmla="*/ 0 h 137"/>
                  <a:gd name="T18" fmla="*/ 45 w 137"/>
                  <a:gd name="T19" fmla="*/ 81 h 137"/>
                  <a:gd name="T20" fmla="*/ 69 w 137"/>
                  <a:gd name="T21" fmla="*/ 22 h 137"/>
                  <a:gd name="T22" fmla="*/ 92 w 137"/>
                  <a:gd name="T23" fmla="*/ 81 h 137"/>
                  <a:gd name="T24" fmla="*/ 45 w 137"/>
                  <a:gd name="T25" fmla="*/ 8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" h="137">
                    <a:moveTo>
                      <a:pt x="55" y="0"/>
                    </a:moveTo>
                    <a:lnTo>
                      <a:pt x="0" y="137"/>
                    </a:lnTo>
                    <a:lnTo>
                      <a:pt x="24" y="137"/>
                    </a:lnTo>
                    <a:lnTo>
                      <a:pt x="38" y="102"/>
                    </a:lnTo>
                    <a:lnTo>
                      <a:pt x="100" y="102"/>
                    </a:lnTo>
                    <a:lnTo>
                      <a:pt x="114" y="137"/>
                    </a:lnTo>
                    <a:lnTo>
                      <a:pt x="137" y="137"/>
                    </a:lnTo>
                    <a:lnTo>
                      <a:pt x="83" y="0"/>
                    </a:lnTo>
                    <a:lnTo>
                      <a:pt x="55" y="0"/>
                    </a:lnTo>
                    <a:close/>
                    <a:moveTo>
                      <a:pt x="45" y="81"/>
                    </a:moveTo>
                    <a:lnTo>
                      <a:pt x="69" y="22"/>
                    </a:lnTo>
                    <a:lnTo>
                      <a:pt x="92" y="81"/>
                    </a:lnTo>
                    <a:lnTo>
                      <a:pt x="45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/>
              <p:cNvSpPr>
                <a:spLocks/>
              </p:cNvSpPr>
              <p:nvPr userDrawn="1"/>
            </p:nvSpPr>
            <p:spPr bwMode="gray">
              <a:xfrm>
                <a:off x="5489786" y="4438159"/>
                <a:ext cx="131902" cy="182530"/>
              </a:xfrm>
              <a:custGeom>
                <a:avLst/>
                <a:gdLst>
                  <a:gd name="T0" fmla="*/ 21 w 99"/>
                  <a:gd name="T1" fmla="*/ 0 h 137"/>
                  <a:gd name="T2" fmla="*/ 0 w 99"/>
                  <a:gd name="T3" fmla="*/ 0 h 137"/>
                  <a:gd name="T4" fmla="*/ 0 w 99"/>
                  <a:gd name="T5" fmla="*/ 137 h 137"/>
                  <a:gd name="T6" fmla="*/ 99 w 99"/>
                  <a:gd name="T7" fmla="*/ 137 h 137"/>
                  <a:gd name="T8" fmla="*/ 99 w 99"/>
                  <a:gd name="T9" fmla="*/ 116 h 137"/>
                  <a:gd name="T10" fmla="*/ 21 w 99"/>
                  <a:gd name="T11" fmla="*/ 116 h 137"/>
                  <a:gd name="T12" fmla="*/ 21 w 99"/>
                  <a:gd name="T13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137">
                    <a:moveTo>
                      <a:pt x="21" y="0"/>
                    </a:moveTo>
                    <a:lnTo>
                      <a:pt x="0" y="0"/>
                    </a:lnTo>
                    <a:lnTo>
                      <a:pt x="0" y="137"/>
                    </a:lnTo>
                    <a:lnTo>
                      <a:pt x="99" y="137"/>
                    </a:lnTo>
                    <a:lnTo>
                      <a:pt x="99" y="116"/>
                    </a:lnTo>
                    <a:lnTo>
                      <a:pt x="21" y="116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2"/>
              <p:cNvSpPr>
                <a:spLocks/>
              </p:cNvSpPr>
              <p:nvPr userDrawn="1"/>
            </p:nvSpPr>
            <p:spPr bwMode="gray">
              <a:xfrm>
                <a:off x="5838859" y="4438159"/>
                <a:ext cx="198519" cy="182530"/>
              </a:xfrm>
              <a:custGeom>
                <a:avLst/>
                <a:gdLst>
                  <a:gd name="T0" fmla="*/ 76 w 149"/>
                  <a:gd name="T1" fmla="*/ 97 h 137"/>
                  <a:gd name="T2" fmla="*/ 36 w 149"/>
                  <a:gd name="T3" fmla="*/ 0 h 137"/>
                  <a:gd name="T4" fmla="*/ 0 w 149"/>
                  <a:gd name="T5" fmla="*/ 0 h 137"/>
                  <a:gd name="T6" fmla="*/ 0 w 149"/>
                  <a:gd name="T7" fmla="*/ 137 h 137"/>
                  <a:gd name="T8" fmla="*/ 24 w 149"/>
                  <a:gd name="T9" fmla="*/ 137 h 137"/>
                  <a:gd name="T10" fmla="*/ 24 w 149"/>
                  <a:gd name="T11" fmla="*/ 24 h 137"/>
                  <a:gd name="T12" fmla="*/ 64 w 149"/>
                  <a:gd name="T13" fmla="*/ 123 h 137"/>
                  <a:gd name="T14" fmla="*/ 88 w 149"/>
                  <a:gd name="T15" fmla="*/ 123 h 137"/>
                  <a:gd name="T16" fmla="*/ 128 w 149"/>
                  <a:gd name="T17" fmla="*/ 24 h 137"/>
                  <a:gd name="T18" fmla="*/ 128 w 149"/>
                  <a:gd name="T19" fmla="*/ 137 h 137"/>
                  <a:gd name="T20" fmla="*/ 149 w 149"/>
                  <a:gd name="T21" fmla="*/ 137 h 137"/>
                  <a:gd name="T22" fmla="*/ 149 w 149"/>
                  <a:gd name="T23" fmla="*/ 0 h 137"/>
                  <a:gd name="T24" fmla="*/ 116 w 149"/>
                  <a:gd name="T25" fmla="*/ 0 h 137"/>
                  <a:gd name="T26" fmla="*/ 76 w 149"/>
                  <a:gd name="T27" fmla="*/ 9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9" h="137">
                    <a:moveTo>
                      <a:pt x="76" y="97"/>
                    </a:moveTo>
                    <a:lnTo>
                      <a:pt x="36" y="0"/>
                    </a:lnTo>
                    <a:lnTo>
                      <a:pt x="0" y="0"/>
                    </a:lnTo>
                    <a:lnTo>
                      <a:pt x="0" y="137"/>
                    </a:lnTo>
                    <a:lnTo>
                      <a:pt x="24" y="137"/>
                    </a:lnTo>
                    <a:lnTo>
                      <a:pt x="24" y="24"/>
                    </a:lnTo>
                    <a:lnTo>
                      <a:pt x="64" y="123"/>
                    </a:lnTo>
                    <a:lnTo>
                      <a:pt x="88" y="123"/>
                    </a:lnTo>
                    <a:lnTo>
                      <a:pt x="128" y="24"/>
                    </a:lnTo>
                    <a:lnTo>
                      <a:pt x="128" y="137"/>
                    </a:lnTo>
                    <a:lnTo>
                      <a:pt x="149" y="137"/>
                    </a:lnTo>
                    <a:lnTo>
                      <a:pt x="149" y="0"/>
                    </a:lnTo>
                    <a:lnTo>
                      <a:pt x="116" y="0"/>
                    </a:lnTo>
                    <a:lnTo>
                      <a:pt x="76" y="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3"/>
              <p:cNvSpPr>
                <a:spLocks noEditPoints="1"/>
              </p:cNvSpPr>
              <p:nvPr userDrawn="1"/>
            </p:nvSpPr>
            <p:spPr bwMode="gray">
              <a:xfrm>
                <a:off x="6131973" y="4432829"/>
                <a:ext cx="195854" cy="191857"/>
              </a:xfrm>
              <a:custGeom>
                <a:avLst/>
                <a:gdLst>
                  <a:gd name="T0" fmla="*/ 31 w 62"/>
                  <a:gd name="T1" fmla="*/ 0 h 61"/>
                  <a:gd name="T2" fmla="*/ 0 w 62"/>
                  <a:gd name="T3" fmla="*/ 31 h 61"/>
                  <a:gd name="T4" fmla="*/ 31 w 62"/>
                  <a:gd name="T5" fmla="*/ 61 h 61"/>
                  <a:gd name="T6" fmla="*/ 62 w 62"/>
                  <a:gd name="T7" fmla="*/ 31 h 61"/>
                  <a:gd name="T8" fmla="*/ 31 w 62"/>
                  <a:gd name="T9" fmla="*/ 0 h 61"/>
                  <a:gd name="T10" fmla="*/ 31 w 62"/>
                  <a:gd name="T11" fmla="*/ 52 h 61"/>
                  <a:gd name="T12" fmla="*/ 10 w 62"/>
                  <a:gd name="T13" fmla="*/ 31 h 61"/>
                  <a:gd name="T14" fmla="*/ 31 w 62"/>
                  <a:gd name="T15" fmla="*/ 10 h 61"/>
                  <a:gd name="T16" fmla="*/ 52 w 62"/>
                  <a:gd name="T17" fmla="*/ 31 h 61"/>
                  <a:gd name="T18" fmla="*/ 31 w 62"/>
                  <a:gd name="T19" fmla="*/ 5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61">
                    <a:moveTo>
                      <a:pt x="31" y="0"/>
                    </a:moveTo>
                    <a:cubicBezTo>
                      <a:pt x="13" y="0"/>
                      <a:pt x="0" y="13"/>
                      <a:pt x="0" y="31"/>
                    </a:cubicBezTo>
                    <a:cubicBezTo>
                      <a:pt x="0" y="48"/>
                      <a:pt x="13" y="61"/>
                      <a:pt x="31" y="61"/>
                    </a:cubicBezTo>
                    <a:cubicBezTo>
                      <a:pt x="49" y="61"/>
                      <a:pt x="62" y="48"/>
                      <a:pt x="62" y="31"/>
                    </a:cubicBezTo>
                    <a:cubicBezTo>
                      <a:pt x="62" y="13"/>
                      <a:pt x="49" y="0"/>
                      <a:pt x="31" y="0"/>
                    </a:cubicBezTo>
                    <a:close/>
                    <a:moveTo>
                      <a:pt x="31" y="52"/>
                    </a:moveTo>
                    <a:cubicBezTo>
                      <a:pt x="19" y="52"/>
                      <a:pt x="10" y="44"/>
                      <a:pt x="10" y="31"/>
                    </a:cubicBezTo>
                    <a:cubicBezTo>
                      <a:pt x="10" y="18"/>
                      <a:pt x="19" y="10"/>
                      <a:pt x="31" y="10"/>
                    </a:cubicBezTo>
                    <a:cubicBezTo>
                      <a:pt x="43" y="10"/>
                      <a:pt x="52" y="18"/>
                      <a:pt x="52" y="31"/>
                    </a:cubicBezTo>
                    <a:cubicBezTo>
                      <a:pt x="52" y="44"/>
                      <a:pt x="43" y="52"/>
                      <a:pt x="31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4"/>
              <p:cNvSpPr>
                <a:spLocks/>
              </p:cNvSpPr>
              <p:nvPr userDrawn="1"/>
            </p:nvSpPr>
            <p:spPr bwMode="gray">
              <a:xfrm>
                <a:off x="6399773" y="4438159"/>
                <a:ext cx="175869" cy="182530"/>
              </a:xfrm>
              <a:custGeom>
                <a:avLst/>
                <a:gdLst>
                  <a:gd name="T0" fmla="*/ 66 w 132"/>
                  <a:gd name="T1" fmla="*/ 116 h 137"/>
                  <a:gd name="T2" fmla="*/ 24 w 132"/>
                  <a:gd name="T3" fmla="*/ 0 h 137"/>
                  <a:gd name="T4" fmla="*/ 0 w 132"/>
                  <a:gd name="T5" fmla="*/ 0 h 137"/>
                  <a:gd name="T6" fmla="*/ 52 w 132"/>
                  <a:gd name="T7" fmla="*/ 137 h 137"/>
                  <a:gd name="T8" fmla="*/ 80 w 132"/>
                  <a:gd name="T9" fmla="*/ 137 h 137"/>
                  <a:gd name="T10" fmla="*/ 132 w 132"/>
                  <a:gd name="T11" fmla="*/ 0 h 137"/>
                  <a:gd name="T12" fmla="*/ 109 w 132"/>
                  <a:gd name="T13" fmla="*/ 0 h 137"/>
                  <a:gd name="T14" fmla="*/ 66 w 132"/>
                  <a:gd name="T15" fmla="*/ 11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2" h="137">
                    <a:moveTo>
                      <a:pt x="66" y="116"/>
                    </a:moveTo>
                    <a:lnTo>
                      <a:pt x="24" y="0"/>
                    </a:lnTo>
                    <a:lnTo>
                      <a:pt x="0" y="0"/>
                    </a:lnTo>
                    <a:lnTo>
                      <a:pt x="52" y="137"/>
                    </a:lnTo>
                    <a:lnTo>
                      <a:pt x="80" y="137"/>
                    </a:lnTo>
                    <a:lnTo>
                      <a:pt x="132" y="0"/>
                    </a:lnTo>
                    <a:lnTo>
                      <a:pt x="109" y="0"/>
                    </a:lnTo>
                    <a:lnTo>
                      <a:pt x="66" y="1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 userDrawn="1"/>
            </p:nvSpPr>
            <p:spPr bwMode="gray">
              <a:xfrm>
                <a:off x="6679565" y="4438159"/>
                <a:ext cx="135899" cy="182530"/>
              </a:xfrm>
              <a:custGeom>
                <a:avLst/>
                <a:gdLst>
                  <a:gd name="T0" fmla="*/ 21 w 102"/>
                  <a:gd name="T1" fmla="*/ 78 h 137"/>
                  <a:gd name="T2" fmla="*/ 97 w 102"/>
                  <a:gd name="T3" fmla="*/ 78 h 137"/>
                  <a:gd name="T4" fmla="*/ 97 w 102"/>
                  <a:gd name="T5" fmla="*/ 57 h 137"/>
                  <a:gd name="T6" fmla="*/ 21 w 102"/>
                  <a:gd name="T7" fmla="*/ 57 h 137"/>
                  <a:gd name="T8" fmla="*/ 21 w 102"/>
                  <a:gd name="T9" fmla="*/ 19 h 137"/>
                  <a:gd name="T10" fmla="*/ 99 w 102"/>
                  <a:gd name="T11" fmla="*/ 19 h 137"/>
                  <a:gd name="T12" fmla="*/ 99 w 102"/>
                  <a:gd name="T13" fmla="*/ 0 h 137"/>
                  <a:gd name="T14" fmla="*/ 0 w 102"/>
                  <a:gd name="T15" fmla="*/ 0 h 137"/>
                  <a:gd name="T16" fmla="*/ 0 w 102"/>
                  <a:gd name="T17" fmla="*/ 137 h 137"/>
                  <a:gd name="T18" fmla="*/ 102 w 102"/>
                  <a:gd name="T19" fmla="*/ 137 h 137"/>
                  <a:gd name="T20" fmla="*/ 102 w 102"/>
                  <a:gd name="T21" fmla="*/ 116 h 137"/>
                  <a:gd name="T22" fmla="*/ 21 w 102"/>
                  <a:gd name="T23" fmla="*/ 116 h 137"/>
                  <a:gd name="T24" fmla="*/ 21 w 102"/>
                  <a:gd name="T25" fmla="*/ 78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" h="137">
                    <a:moveTo>
                      <a:pt x="21" y="78"/>
                    </a:moveTo>
                    <a:lnTo>
                      <a:pt x="97" y="78"/>
                    </a:lnTo>
                    <a:lnTo>
                      <a:pt x="97" y="57"/>
                    </a:lnTo>
                    <a:lnTo>
                      <a:pt x="21" y="57"/>
                    </a:lnTo>
                    <a:lnTo>
                      <a:pt x="21" y="19"/>
                    </a:lnTo>
                    <a:lnTo>
                      <a:pt x="99" y="19"/>
                    </a:lnTo>
                    <a:lnTo>
                      <a:pt x="99" y="0"/>
                    </a:lnTo>
                    <a:lnTo>
                      <a:pt x="0" y="0"/>
                    </a:lnTo>
                    <a:lnTo>
                      <a:pt x="0" y="137"/>
                    </a:lnTo>
                    <a:lnTo>
                      <a:pt x="102" y="137"/>
                    </a:lnTo>
                    <a:lnTo>
                      <a:pt x="102" y="116"/>
                    </a:lnTo>
                    <a:lnTo>
                      <a:pt x="21" y="116"/>
                    </a:lnTo>
                    <a:lnTo>
                      <a:pt x="21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6"/>
              <p:cNvSpPr>
                <a:spLocks/>
              </p:cNvSpPr>
              <p:nvPr userDrawn="1"/>
            </p:nvSpPr>
            <p:spPr bwMode="gray">
              <a:xfrm>
                <a:off x="6924715" y="4438159"/>
                <a:ext cx="198519" cy="182530"/>
              </a:xfrm>
              <a:custGeom>
                <a:avLst/>
                <a:gdLst>
                  <a:gd name="T0" fmla="*/ 74 w 149"/>
                  <a:gd name="T1" fmla="*/ 97 h 137"/>
                  <a:gd name="T2" fmla="*/ 34 w 149"/>
                  <a:gd name="T3" fmla="*/ 0 h 137"/>
                  <a:gd name="T4" fmla="*/ 0 w 149"/>
                  <a:gd name="T5" fmla="*/ 0 h 137"/>
                  <a:gd name="T6" fmla="*/ 0 w 149"/>
                  <a:gd name="T7" fmla="*/ 137 h 137"/>
                  <a:gd name="T8" fmla="*/ 22 w 149"/>
                  <a:gd name="T9" fmla="*/ 137 h 137"/>
                  <a:gd name="T10" fmla="*/ 22 w 149"/>
                  <a:gd name="T11" fmla="*/ 24 h 137"/>
                  <a:gd name="T12" fmla="*/ 62 w 149"/>
                  <a:gd name="T13" fmla="*/ 123 h 137"/>
                  <a:gd name="T14" fmla="*/ 85 w 149"/>
                  <a:gd name="T15" fmla="*/ 123 h 137"/>
                  <a:gd name="T16" fmla="*/ 128 w 149"/>
                  <a:gd name="T17" fmla="*/ 24 h 137"/>
                  <a:gd name="T18" fmla="*/ 128 w 149"/>
                  <a:gd name="T19" fmla="*/ 137 h 137"/>
                  <a:gd name="T20" fmla="*/ 149 w 149"/>
                  <a:gd name="T21" fmla="*/ 137 h 137"/>
                  <a:gd name="T22" fmla="*/ 149 w 149"/>
                  <a:gd name="T23" fmla="*/ 0 h 137"/>
                  <a:gd name="T24" fmla="*/ 114 w 149"/>
                  <a:gd name="T25" fmla="*/ 0 h 137"/>
                  <a:gd name="T26" fmla="*/ 74 w 149"/>
                  <a:gd name="T27" fmla="*/ 9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9" h="137">
                    <a:moveTo>
                      <a:pt x="74" y="97"/>
                    </a:moveTo>
                    <a:lnTo>
                      <a:pt x="34" y="0"/>
                    </a:lnTo>
                    <a:lnTo>
                      <a:pt x="0" y="0"/>
                    </a:lnTo>
                    <a:lnTo>
                      <a:pt x="0" y="137"/>
                    </a:lnTo>
                    <a:lnTo>
                      <a:pt x="22" y="137"/>
                    </a:lnTo>
                    <a:lnTo>
                      <a:pt x="22" y="24"/>
                    </a:lnTo>
                    <a:lnTo>
                      <a:pt x="62" y="123"/>
                    </a:lnTo>
                    <a:lnTo>
                      <a:pt x="85" y="123"/>
                    </a:lnTo>
                    <a:lnTo>
                      <a:pt x="128" y="24"/>
                    </a:lnTo>
                    <a:lnTo>
                      <a:pt x="128" y="137"/>
                    </a:lnTo>
                    <a:lnTo>
                      <a:pt x="149" y="137"/>
                    </a:lnTo>
                    <a:lnTo>
                      <a:pt x="149" y="0"/>
                    </a:lnTo>
                    <a:lnTo>
                      <a:pt x="114" y="0"/>
                    </a:lnTo>
                    <a:lnTo>
                      <a:pt x="74" y="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7"/>
              <p:cNvSpPr>
                <a:spLocks/>
              </p:cNvSpPr>
              <p:nvPr userDrawn="1"/>
            </p:nvSpPr>
            <p:spPr bwMode="gray">
              <a:xfrm>
                <a:off x="7236482" y="4438159"/>
                <a:ext cx="135899" cy="182530"/>
              </a:xfrm>
              <a:custGeom>
                <a:avLst/>
                <a:gdLst>
                  <a:gd name="T0" fmla="*/ 22 w 102"/>
                  <a:gd name="T1" fmla="*/ 78 h 137"/>
                  <a:gd name="T2" fmla="*/ 97 w 102"/>
                  <a:gd name="T3" fmla="*/ 78 h 137"/>
                  <a:gd name="T4" fmla="*/ 97 w 102"/>
                  <a:gd name="T5" fmla="*/ 57 h 137"/>
                  <a:gd name="T6" fmla="*/ 22 w 102"/>
                  <a:gd name="T7" fmla="*/ 57 h 137"/>
                  <a:gd name="T8" fmla="*/ 22 w 102"/>
                  <a:gd name="T9" fmla="*/ 19 h 137"/>
                  <a:gd name="T10" fmla="*/ 100 w 102"/>
                  <a:gd name="T11" fmla="*/ 19 h 137"/>
                  <a:gd name="T12" fmla="*/ 100 w 102"/>
                  <a:gd name="T13" fmla="*/ 0 h 137"/>
                  <a:gd name="T14" fmla="*/ 0 w 102"/>
                  <a:gd name="T15" fmla="*/ 0 h 137"/>
                  <a:gd name="T16" fmla="*/ 0 w 102"/>
                  <a:gd name="T17" fmla="*/ 137 h 137"/>
                  <a:gd name="T18" fmla="*/ 102 w 102"/>
                  <a:gd name="T19" fmla="*/ 137 h 137"/>
                  <a:gd name="T20" fmla="*/ 102 w 102"/>
                  <a:gd name="T21" fmla="*/ 116 h 137"/>
                  <a:gd name="T22" fmla="*/ 22 w 102"/>
                  <a:gd name="T23" fmla="*/ 116 h 137"/>
                  <a:gd name="T24" fmla="*/ 22 w 102"/>
                  <a:gd name="T25" fmla="*/ 78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" h="137">
                    <a:moveTo>
                      <a:pt x="22" y="78"/>
                    </a:moveTo>
                    <a:lnTo>
                      <a:pt x="97" y="78"/>
                    </a:lnTo>
                    <a:lnTo>
                      <a:pt x="97" y="57"/>
                    </a:lnTo>
                    <a:lnTo>
                      <a:pt x="22" y="57"/>
                    </a:lnTo>
                    <a:lnTo>
                      <a:pt x="22" y="19"/>
                    </a:lnTo>
                    <a:lnTo>
                      <a:pt x="100" y="19"/>
                    </a:lnTo>
                    <a:lnTo>
                      <a:pt x="100" y="0"/>
                    </a:lnTo>
                    <a:lnTo>
                      <a:pt x="0" y="0"/>
                    </a:lnTo>
                    <a:lnTo>
                      <a:pt x="0" y="137"/>
                    </a:lnTo>
                    <a:lnTo>
                      <a:pt x="102" y="137"/>
                    </a:lnTo>
                    <a:lnTo>
                      <a:pt x="102" y="116"/>
                    </a:lnTo>
                    <a:lnTo>
                      <a:pt x="22" y="116"/>
                    </a:lnTo>
                    <a:lnTo>
                      <a:pt x="22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8"/>
              <p:cNvSpPr>
                <a:spLocks/>
              </p:cNvSpPr>
              <p:nvPr userDrawn="1"/>
            </p:nvSpPr>
            <p:spPr bwMode="gray">
              <a:xfrm>
                <a:off x="7482965" y="4438159"/>
                <a:ext cx="159881" cy="182530"/>
              </a:xfrm>
              <a:custGeom>
                <a:avLst/>
                <a:gdLst>
                  <a:gd name="T0" fmla="*/ 96 w 120"/>
                  <a:gd name="T1" fmla="*/ 100 h 137"/>
                  <a:gd name="T2" fmla="*/ 18 w 120"/>
                  <a:gd name="T3" fmla="*/ 0 h 137"/>
                  <a:gd name="T4" fmla="*/ 0 w 120"/>
                  <a:gd name="T5" fmla="*/ 0 h 137"/>
                  <a:gd name="T6" fmla="*/ 0 w 120"/>
                  <a:gd name="T7" fmla="*/ 137 h 137"/>
                  <a:gd name="T8" fmla="*/ 21 w 120"/>
                  <a:gd name="T9" fmla="*/ 137 h 137"/>
                  <a:gd name="T10" fmla="*/ 21 w 120"/>
                  <a:gd name="T11" fmla="*/ 38 h 137"/>
                  <a:gd name="T12" fmla="*/ 99 w 120"/>
                  <a:gd name="T13" fmla="*/ 137 h 137"/>
                  <a:gd name="T14" fmla="*/ 120 w 120"/>
                  <a:gd name="T15" fmla="*/ 137 h 137"/>
                  <a:gd name="T16" fmla="*/ 120 w 120"/>
                  <a:gd name="T17" fmla="*/ 0 h 137"/>
                  <a:gd name="T18" fmla="*/ 96 w 120"/>
                  <a:gd name="T19" fmla="*/ 0 h 137"/>
                  <a:gd name="T20" fmla="*/ 96 w 120"/>
                  <a:gd name="T21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0" h="137">
                    <a:moveTo>
                      <a:pt x="96" y="10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0" y="137"/>
                    </a:lnTo>
                    <a:lnTo>
                      <a:pt x="21" y="137"/>
                    </a:lnTo>
                    <a:lnTo>
                      <a:pt x="21" y="38"/>
                    </a:lnTo>
                    <a:lnTo>
                      <a:pt x="99" y="137"/>
                    </a:lnTo>
                    <a:lnTo>
                      <a:pt x="120" y="137"/>
                    </a:lnTo>
                    <a:lnTo>
                      <a:pt x="120" y="0"/>
                    </a:lnTo>
                    <a:lnTo>
                      <a:pt x="96" y="0"/>
                    </a:lnTo>
                    <a:lnTo>
                      <a:pt x="96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9"/>
              <p:cNvSpPr>
                <a:spLocks/>
              </p:cNvSpPr>
              <p:nvPr userDrawn="1"/>
            </p:nvSpPr>
            <p:spPr bwMode="gray">
              <a:xfrm>
                <a:off x="7734777" y="4438159"/>
                <a:ext cx="150554" cy="182530"/>
              </a:xfrm>
              <a:custGeom>
                <a:avLst/>
                <a:gdLst>
                  <a:gd name="T0" fmla="*/ 0 w 113"/>
                  <a:gd name="T1" fmla="*/ 19 h 137"/>
                  <a:gd name="T2" fmla="*/ 44 w 113"/>
                  <a:gd name="T3" fmla="*/ 19 h 137"/>
                  <a:gd name="T4" fmla="*/ 44 w 113"/>
                  <a:gd name="T5" fmla="*/ 137 h 137"/>
                  <a:gd name="T6" fmla="*/ 68 w 113"/>
                  <a:gd name="T7" fmla="*/ 137 h 137"/>
                  <a:gd name="T8" fmla="*/ 68 w 113"/>
                  <a:gd name="T9" fmla="*/ 19 h 137"/>
                  <a:gd name="T10" fmla="*/ 113 w 113"/>
                  <a:gd name="T11" fmla="*/ 19 h 137"/>
                  <a:gd name="T12" fmla="*/ 113 w 113"/>
                  <a:gd name="T13" fmla="*/ 0 h 137"/>
                  <a:gd name="T14" fmla="*/ 0 w 113"/>
                  <a:gd name="T15" fmla="*/ 0 h 137"/>
                  <a:gd name="T16" fmla="*/ 0 w 113"/>
                  <a:gd name="T17" fmla="*/ 1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3" h="137">
                    <a:moveTo>
                      <a:pt x="0" y="19"/>
                    </a:moveTo>
                    <a:lnTo>
                      <a:pt x="44" y="19"/>
                    </a:lnTo>
                    <a:lnTo>
                      <a:pt x="44" y="137"/>
                    </a:lnTo>
                    <a:lnTo>
                      <a:pt x="68" y="137"/>
                    </a:lnTo>
                    <a:lnTo>
                      <a:pt x="68" y="19"/>
                    </a:lnTo>
                    <a:lnTo>
                      <a:pt x="113" y="19"/>
                    </a:lnTo>
                    <a:lnTo>
                      <a:pt x="113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104420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667747"/>
            <a:ext cx="9840000" cy="808149"/>
          </a:xfrm>
        </p:spPr>
        <p:txBody>
          <a:bodyPr wrap="none"/>
          <a:lstStyle>
            <a:lvl1pPr>
              <a:defRPr sz="6133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559816"/>
            <a:ext cx="9840000" cy="806400"/>
          </a:xfrm>
        </p:spPr>
        <p:txBody>
          <a:bodyPr wrap="none"/>
          <a:lstStyle>
            <a:lvl1pPr marL="0" indent="0">
              <a:lnSpc>
                <a:spcPct val="75000"/>
              </a:lnSpc>
              <a:buFont typeface="Arial" panose="020B0604020202020204" pitchFamily="34" charset="0"/>
              <a:buNone/>
              <a:defRPr sz="6133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9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000" y="2255483"/>
            <a:ext cx="9840000" cy="808149"/>
          </a:xfrm>
        </p:spPr>
        <p:txBody>
          <a:bodyPr wrap="none"/>
          <a:lstStyle>
            <a:lvl1pPr>
              <a:defRPr sz="6667" baseline="0">
                <a:solidFill>
                  <a:schemeClr val="bg1"/>
                </a:solidFill>
                <a:latin typeface="MarkPro-Light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3952736"/>
            <a:ext cx="9840000" cy="1752600"/>
          </a:xfrm>
        </p:spPr>
        <p:txBody>
          <a:bodyPr/>
          <a:lstStyle>
            <a:lvl1pPr marL="0" indent="0" algn="l">
              <a:lnSpc>
                <a:spcPct val="125000"/>
              </a:lnSpc>
              <a:buNone/>
              <a:defRPr sz="2133" baseline="0">
                <a:solidFill>
                  <a:schemeClr val="accent5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55999" y="3016563"/>
            <a:ext cx="9840000" cy="806400"/>
          </a:xfrm>
        </p:spPr>
        <p:txBody>
          <a:bodyPr wrap="none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6667" cap="all" baseline="0">
                <a:solidFill>
                  <a:schemeClr val="bg1"/>
                </a:solidFill>
                <a:latin typeface="MarkPro-Heavy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056000" y="6017363"/>
            <a:ext cx="9840000" cy="360000"/>
          </a:xfr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1pPr>
            <a:lvl2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2pPr>
            <a:lvl3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3pPr>
            <a:lvl4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4pPr>
            <a:lvl5pPr marL="0" indent="0">
              <a:buNone/>
              <a:defRPr sz="1467">
                <a:solidFill>
                  <a:srgbClr val="00B0F0"/>
                </a:solidFill>
                <a:latin typeface="MarkPro-Light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2400" cap="none" baseline="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/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2A22C70-0349-8449-82CA-31340CAB9741}" type="datetime1">
              <a:rPr lang="de-DE" smtClean="0">
                <a:solidFill>
                  <a:prstClr val="black"/>
                </a:solidFill>
              </a:rPr>
              <a:pPr/>
              <a:t>09.11.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3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4"/>
            <a:ext cx="11014323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1"/>
            <a:ext cx="11017251" cy="728663"/>
          </a:xfrm>
        </p:spPr>
        <p:txBody>
          <a:bodyPr bIns="10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87377" y="6273800"/>
            <a:ext cx="10333161" cy="358963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26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9" y="275115"/>
            <a:ext cx="1266825" cy="233363"/>
          </a:xfrm>
          <a:blipFill dpi="0" rotWithShape="1">
            <a:blip r:embed="rId2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text"/>
          <p:cNvSpPr>
            <a:spLocks noGrp="1"/>
          </p:cNvSpPr>
          <p:nvPr>
            <p:ph type="title"/>
          </p:nvPr>
        </p:nvSpPr>
        <p:spPr>
          <a:xfrm>
            <a:off x="889000" y="1149351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eltext</a:t>
            </a:r>
          </a:p>
        </p:txBody>
      </p:sp>
      <p:sp>
        <p:nvSpPr>
          <p:cNvPr id="12" name="Textebene 1…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297" algn="ctr">
              <a:spcBef>
                <a:spcPts val="0"/>
              </a:spcBef>
              <a:buSzTx/>
              <a:buNone/>
              <a:defRPr sz="2200"/>
            </a:lvl2pPr>
            <a:lvl3pPr marL="0" indent="228594" algn="ctr">
              <a:spcBef>
                <a:spcPts val="0"/>
              </a:spcBef>
              <a:buSzTx/>
              <a:buNone/>
              <a:defRPr sz="2200"/>
            </a:lvl3pPr>
            <a:lvl4pPr marL="0" indent="342891" algn="ctr">
              <a:spcBef>
                <a:spcPts val="0"/>
              </a:spcBef>
              <a:buSzTx/>
              <a:buNone/>
              <a:defRPr sz="2200"/>
            </a:lvl4pPr>
            <a:lvl5pPr marL="0" indent="457189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Foliennumm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1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2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1" baseline="0">
                <a:solidFill>
                  <a:schemeClr val="bg2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1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1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5" y="6273802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1"/>
            <a:ext cx="12529360" cy="7129524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60"/>
              <a:ext cx="11269265" cy="124693"/>
              <a:chOff x="587375" y="-159939"/>
              <a:chExt cx="11269265" cy="124693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39"/>
                <a:ext cx="250825" cy="124693"/>
                <a:chOff x="587375" y="-159939"/>
                <a:chExt cx="250825" cy="124693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39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38"/>
                <a:ext cx="170611" cy="124692"/>
                <a:chOff x="587375" y="-159938"/>
                <a:chExt cx="170611" cy="124692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38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39"/>
                <a:ext cx="170611" cy="124693"/>
                <a:chOff x="587375" y="-159939"/>
                <a:chExt cx="170611" cy="124693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3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39"/>
                <a:ext cx="170611" cy="124693"/>
                <a:chOff x="587375" y="-159939"/>
                <a:chExt cx="170611" cy="124693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3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39"/>
                <a:ext cx="170611" cy="124693"/>
                <a:chOff x="587375" y="-159939"/>
                <a:chExt cx="170611" cy="124693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3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39"/>
                <a:ext cx="170611" cy="124693"/>
                <a:chOff x="587375" y="-159939"/>
                <a:chExt cx="170611" cy="124693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3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39"/>
                <a:ext cx="170611" cy="124693"/>
                <a:chOff x="587375" y="-159939"/>
                <a:chExt cx="170611" cy="124693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3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39"/>
                <a:ext cx="254943" cy="124693"/>
                <a:chOff x="587375" y="-159939"/>
                <a:chExt cx="254943" cy="124693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39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prstClr val="white">
                          <a:lumMod val="50000"/>
                        </a:prst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5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8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8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00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1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8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8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9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83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196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7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4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4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5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85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2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86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0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8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09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60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9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0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61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7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8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62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175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6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63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3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4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64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1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2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65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69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0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66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7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8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0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36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58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9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37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6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7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8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4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5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9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2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0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0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1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8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9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2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6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7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3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44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11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2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34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5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13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2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3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4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0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1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5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8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9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6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6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7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4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5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8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2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9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20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1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pic>
        <p:nvPicPr>
          <p:cNvPr id="106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627312"/>
          </a:xfrm>
        </p:spPr>
        <p:txBody>
          <a:bodyPr anchor="b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this presentation</a:t>
            </a:r>
          </a:p>
        </p:txBody>
      </p: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375" y="4076700"/>
            <a:ext cx="11017250" cy="1908361"/>
          </a:xfrm>
        </p:spPr>
        <p:txBody>
          <a:bodyPr t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bg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5pPr>
            <a:lvl6pPr marL="0" indent="0" algn="l">
              <a:buNone/>
              <a:defRPr sz="1800" b="0" cap="all" baseline="0">
                <a:solidFill>
                  <a:schemeClr val="bg1"/>
                </a:solidFill>
              </a:defRPr>
            </a:lvl6pPr>
            <a:lvl7pPr marL="0" indent="0" algn="l">
              <a:buNone/>
              <a:defRPr sz="1800" b="0" baseline="0">
                <a:solidFill>
                  <a:schemeClr val="bg1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bg1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  <a:p>
            <a:pPr lvl="0"/>
            <a:r>
              <a:rPr lang="de-DE" noProof="0" dirty="0"/>
              <a:t>Date, </a:t>
            </a:r>
            <a:r>
              <a:rPr lang="de-DE" noProof="0" dirty="0" err="1"/>
              <a:t>Presen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4836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321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87375" y="1881188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grpSp>
        <p:nvGrpSpPr>
          <p:cNvPr id="148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49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22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41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2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23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39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0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24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37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8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25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35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6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26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33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4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27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31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2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28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9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50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01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20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1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02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18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9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03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16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7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04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14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5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05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12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3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06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10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1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07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08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9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51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77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99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78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97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79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95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80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93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4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1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91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2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2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9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0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83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87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8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4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85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6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52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53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75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6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4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3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4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55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1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2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56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9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0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7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7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8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8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5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6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59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3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4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0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61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2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anchor="b"/>
          <a:lstStyle>
            <a:lvl1pPr>
              <a:defRPr sz="28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3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>
            <a:off x="1066267" y="1866440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9" name="ClipArt-Platzhalter 37"/>
          <p:cNvSpPr>
            <a:spLocks noGrp="1"/>
          </p:cNvSpPr>
          <p:nvPr>
            <p:ph type="clipArt" sz="quarter" idx="24" hasCustomPrompt="1"/>
          </p:nvPr>
        </p:nvSpPr>
        <p:spPr bwMode="gray">
          <a:xfrm rot="1500000">
            <a:off x="1066268" y="2739362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0" name="ClipArt-Platzhalter 37"/>
          <p:cNvSpPr>
            <a:spLocks noGrp="1"/>
          </p:cNvSpPr>
          <p:nvPr>
            <p:ph type="clipArt" sz="quarter" idx="25" hasCustomPrompt="1"/>
          </p:nvPr>
        </p:nvSpPr>
        <p:spPr bwMode="gray">
          <a:xfrm rot="1500000">
            <a:off x="1066269" y="3612284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1" name="ClipArt-Platzhalter 37"/>
          <p:cNvSpPr>
            <a:spLocks noGrp="1"/>
          </p:cNvSpPr>
          <p:nvPr>
            <p:ph type="clipArt" sz="quarter" idx="26" hasCustomPrompt="1"/>
          </p:nvPr>
        </p:nvSpPr>
        <p:spPr bwMode="gray">
          <a:xfrm rot="1500000">
            <a:off x="1066269" y="4485206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2" name="ClipArt-Platzhalter 37"/>
          <p:cNvSpPr>
            <a:spLocks noGrp="1"/>
          </p:cNvSpPr>
          <p:nvPr>
            <p:ph type="clipArt" sz="quarter" idx="27" hasCustomPrompt="1"/>
          </p:nvPr>
        </p:nvSpPr>
        <p:spPr bwMode="gray">
          <a:xfrm rot="1500000">
            <a:off x="1066269" y="535812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BFEEBC62-D2D4-47F5-AFD8-DECB50D43BB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4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41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4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  <p:sp>
        <p:nvSpPr>
          <p:cNvPr id="34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7375" y="2753501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346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7375" y="3625814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347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7375" y="4498127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34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87375" y="5370441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cap="all" normalizeH="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349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51484" y="1881188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350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451484" y="275369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351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451484" y="3626202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352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51484" y="4498709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353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451484" y="5371216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587252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01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74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3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4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75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1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2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76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89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0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77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7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8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78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5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6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79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3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4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80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1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2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53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2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3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54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0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1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55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68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56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6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7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57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4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5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58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62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3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59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60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1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3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229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51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2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30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7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2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3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3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4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4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5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9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0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3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04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05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27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8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06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5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6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07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3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4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8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1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2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09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9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10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7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8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11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5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6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2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13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4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627312"/>
          </a:xfrm>
        </p:spPr>
        <p:txBody>
          <a:bodyPr anchor="b">
            <a:noAutofit/>
          </a:bodyPr>
          <a:lstStyle>
            <a:lvl1pPr algn="l">
              <a:defRPr sz="6000" spc="-110" baseline="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of this presentation</a:t>
            </a:r>
          </a:p>
        </p:txBody>
      </p: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375" y="4076700"/>
            <a:ext cx="11017250" cy="1908361"/>
          </a:xfrm>
        </p:spPr>
        <p:txBody>
          <a:bodyPr t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/>
            </a:lvl2pPr>
            <a:lvl3pPr marL="0" indent="0" algn="l">
              <a:spcBef>
                <a:spcPts val="600"/>
              </a:spcBef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spcBef>
                <a:spcPts val="600"/>
              </a:spcBef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bg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bg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  <a:p>
            <a:pPr lvl="0"/>
            <a:r>
              <a:rPr lang="de-DE" noProof="0" dirty="0"/>
              <a:t>Date, </a:t>
            </a:r>
            <a:r>
              <a:rPr lang="de-DE" noProof="0" dirty="0" err="1"/>
              <a:t>Presenter</a:t>
            </a:r>
            <a:endParaRPr lang="de-DE" noProof="0" dirty="0"/>
          </a:p>
        </p:txBody>
      </p:sp>
      <p:pic>
        <p:nvPicPr>
          <p:cNvPr id="295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0418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C6326C2-09A0-4C02-8844-36AE80F815F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12471" y="3429000"/>
            <a:ext cx="10692154" cy="1403350"/>
          </a:xfrm>
        </p:spPr>
        <p:txBody>
          <a:bodyPr tIns="0" bIns="1512000" anchor="t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slides</a:t>
            </a:r>
            <a:br>
              <a:rPr lang="en-US" noProof="0" dirty="0"/>
            </a:br>
            <a:r>
              <a:rPr lang="en-US" noProof="0" dirty="0"/>
              <a:t>with two lines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07201" y="4958464"/>
            <a:ext cx="10692154" cy="1026411"/>
          </a:xfrm>
        </p:spPr>
        <p:txBody>
          <a:bodyPr tIns="0"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5pPr>
            <a:lvl6pPr marL="0" indent="0" algn="l">
              <a:spcBef>
                <a:spcPts val="600"/>
              </a:spcBef>
              <a:buNone/>
              <a:defRPr sz="1800" b="0" cap="all" baseline="0">
                <a:solidFill>
                  <a:schemeClr val="bg1"/>
                </a:solidFill>
              </a:defRPr>
            </a:lvl6pPr>
            <a:lvl7pPr marL="0" indent="0" algn="l">
              <a:spcBef>
                <a:spcPts val="600"/>
              </a:spcBef>
              <a:buNone/>
              <a:defRPr sz="1800" b="0" baseline="0">
                <a:solidFill>
                  <a:schemeClr val="bg1"/>
                </a:solidFill>
              </a:defRPr>
            </a:lvl7pPr>
            <a:lvl8pPr marL="0" indent="0" algn="l">
              <a:spcBef>
                <a:spcPts val="600"/>
              </a:spcBef>
              <a:buNone/>
              <a:defRPr sz="1800" b="0" baseline="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30FE3BA4-AEB8-4BD8-A016-0693F7E94455}"/>
              </a:ext>
            </a:extLst>
          </p:cNvPr>
          <p:cNvSpPr/>
          <p:nvPr userDrawn="1"/>
        </p:nvSpPr>
        <p:spPr bwMode="gray">
          <a:xfrm rot="1500000">
            <a:off x="655994" y="3104417"/>
            <a:ext cx="46800" cy="100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cap="all" spc="300" noProof="0" dirty="0" err="1">
              <a:latin typeface="+mj-lt"/>
            </a:endParaRPr>
          </a:p>
        </p:txBody>
      </p:sp>
      <p:pic>
        <p:nvPicPr>
          <p:cNvPr id="16" name="Picture 12">
            <a:extLst>
              <a:ext uri="{FF2B5EF4-FFF2-40B4-BE49-F238E27FC236}">
                <a16:creationId xmlns:a16="http://schemas.microsoft.com/office/drawing/2014/main" xmlns="" id="{CC565151-39CD-4711-BCBA-1D8883545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5427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11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84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03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4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85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01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2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86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199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7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7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88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5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89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3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4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90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1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2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2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63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82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3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64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80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1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65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178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9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66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6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67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4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5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68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2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3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69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70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1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3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39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61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2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40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7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8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2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3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3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4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4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5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9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4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14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5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37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16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5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7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3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8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1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9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9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20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7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21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5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22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23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8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1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  <p:pic>
        <p:nvPicPr>
          <p:cNvPr id="20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960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1881188"/>
            <a:ext cx="5364163" cy="41036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4112" y="1881188"/>
            <a:ext cx="5364163" cy="41036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2">
            <a:extLst>
              <a:ext uri="{FF2B5EF4-FFF2-40B4-BE49-F238E27FC236}">
                <a16:creationId xmlns:a16="http://schemas.microsoft.com/office/drawing/2014/main" xmlns="" id="{2C88DED9-E13F-4BD1-8261-8A1A951D2E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173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3"/>
            <a:ext cx="3492500" cy="11525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1881188"/>
            <a:ext cx="7237412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D0083C2F-F1F9-4EAC-BE81-A744021CA6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311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3492000" cy="72072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5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1881188"/>
            <a:ext cx="3456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1881188"/>
            <a:ext cx="34925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E2F789C4-6AE9-4E12-84C6-400E76802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7276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 and 1 x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7234483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BDA881AA-9DF6-4936-B752-2E90815739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914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 and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2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367213" y="728663"/>
            <a:ext cx="3457575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112125" y="728663"/>
            <a:ext cx="3489571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2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7D2A0B5E-983B-456A-A71E-50ED5CEEB6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872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34925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076700"/>
            <a:ext cx="3456000" cy="1908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076700"/>
            <a:ext cx="3492500" cy="1908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367213" y="728663"/>
            <a:ext cx="3457575" cy="306070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Bildplatzhalter 12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728663"/>
            <a:ext cx="3489571" cy="306070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D27B4BF9-4419-4E53-9CB1-375C39C32C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7723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 and 1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723600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7236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824789" y="1"/>
            <a:ext cx="4367211" cy="4184650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FC04873F-F9F0-4489-A208-DC87E77E51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9213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 and 1 x big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5364163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2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7236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951539" y="1"/>
            <a:ext cx="6240462" cy="5979594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0400F4D7-3BB6-4341-BE05-EFDB42F05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09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01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74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3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4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75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1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2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76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89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0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77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7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8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78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5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6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79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3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4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80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1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2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53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2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3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54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0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1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55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68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56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6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7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57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4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5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58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62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3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59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60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1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3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229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51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2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30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7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2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3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3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4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4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5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9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0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3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04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05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27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8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06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5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6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07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3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4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8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1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2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09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9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10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7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8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11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5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6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2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13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4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95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 and 1 x 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2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7236000" cy="41036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09195" y="728663"/>
            <a:ext cx="3492000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A25A2CD-59FE-4ADE-B401-37194E5DC4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251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3 x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2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4076700"/>
            <a:ext cx="3492500" cy="1908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076700"/>
            <a:ext cx="3456000" cy="1908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076700"/>
            <a:ext cx="3492500" cy="19081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1881188"/>
            <a:ext cx="3492501" cy="1908175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67214" y="1881188"/>
            <a:ext cx="3455652" cy="1908175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109195" y="1881188"/>
            <a:ext cx="3492501" cy="1908175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15760DF5-0400-42C6-B51E-3AAFFB914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920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D6ECD330-AEE3-4B28-B9CD-5DDFBCF4D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1720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P:\Projekte\MOIA\02_P170083_TEMPLATE\03_FOLIENBIBLIOTHEK\_Media\Bild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92000" cy="6859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4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40000">
                <a:srgbClr val="009DD7">
                  <a:alpha val="56000"/>
                </a:srgbClr>
              </a:gs>
              <a:gs pos="0">
                <a:srgbClr val="1AA37F">
                  <a:alpha val="64000"/>
                </a:srgbClr>
              </a:gs>
              <a:gs pos="90000">
                <a:srgbClr val="0A2737">
                  <a:alpha val="73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1525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247249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4076700"/>
            <a:ext cx="3492000" cy="190817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6pPr>
            <a:lvl7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7pPr>
            <a:lvl8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8pPr>
            <a:lvl9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367213" y="4076700"/>
            <a:ext cx="3452811" cy="190817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12125" y="4076700"/>
            <a:ext cx="3492000" cy="190817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3320988"/>
            <a:ext cx="3492500" cy="468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800" b="0" strike="noStrike" cap="all" spc="300" baseline="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8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6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27524" y="3320988"/>
            <a:ext cx="3492500" cy="468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800" b="0" strike="noStrike" cap="all" spc="300" baseline="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8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1625" y="3320988"/>
            <a:ext cx="3492500" cy="468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800" b="0" cap="all" spc="300" baseline="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800" b="0" strike="noStrike" cap="all" spc="300" baseline="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8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xmlns="" id="{D8D1D09C-B08B-4CAF-A5C7-BD369C8C3E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1948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33A39520-481E-4175-8795-8DE23B6A77FA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1881189"/>
            <a:ext cx="5364162" cy="4103686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9247696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B1FDDEA9-B4B7-4FEE-8563-884D92F018BD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63" y="1881189"/>
            <a:ext cx="5364162" cy="4103686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4031311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7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80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9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81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7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82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195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3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3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4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84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1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2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85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9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0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86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7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8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08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59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8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9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60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76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61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174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5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62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2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3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63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70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1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64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68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9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65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6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7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09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35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57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8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36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5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7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3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4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8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1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2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39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9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40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7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1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5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6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42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43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4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10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1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33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12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31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3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9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4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7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5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5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16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3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17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18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19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627312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5pPr>
            <a:lvl6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6pPr>
            <a:lvl7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7pPr>
            <a:lvl8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8pPr>
            <a:lvl9pPr>
              <a:lnSpc>
                <a:spcPct val="90000"/>
              </a:lnSpc>
              <a:defRPr sz="6000" kern="1200" spc="-11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HANK YOU</a:t>
            </a:r>
          </a:p>
        </p:txBody>
      </p: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01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478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Hambur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87375" y="1881188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grpSp>
        <p:nvGrpSpPr>
          <p:cNvPr id="241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42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315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34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5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316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32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3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317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330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1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318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328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9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319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326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7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320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24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5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21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22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3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43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94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313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4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95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311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2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96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309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0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97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307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8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98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305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6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99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303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4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00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01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2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44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270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92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3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71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0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1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72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8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9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73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6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7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74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4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5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75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2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3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76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0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1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77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78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9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45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46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68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47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6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7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48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4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5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49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2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3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50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0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1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51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8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9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52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6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7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53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54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5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anchor="b"/>
          <a:lstStyle>
            <a:lvl1pPr>
              <a:defRPr sz="2800" spc="-110" baseline="0"/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3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>
            <a:off x="1066267" y="1866440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9" name="ClipArt-Platzhalter 37"/>
          <p:cNvSpPr>
            <a:spLocks noGrp="1"/>
          </p:cNvSpPr>
          <p:nvPr>
            <p:ph type="clipArt" sz="quarter" idx="24" hasCustomPrompt="1"/>
          </p:nvPr>
        </p:nvSpPr>
        <p:spPr bwMode="gray">
          <a:xfrm rot="1500000">
            <a:off x="1066268" y="2739362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0" name="ClipArt-Platzhalter 37"/>
          <p:cNvSpPr>
            <a:spLocks noGrp="1"/>
          </p:cNvSpPr>
          <p:nvPr>
            <p:ph type="clipArt" sz="quarter" idx="25" hasCustomPrompt="1"/>
          </p:nvPr>
        </p:nvSpPr>
        <p:spPr bwMode="gray">
          <a:xfrm rot="1500000">
            <a:off x="1066269" y="3612284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1" name="ClipArt-Platzhalter 37"/>
          <p:cNvSpPr>
            <a:spLocks noGrp="1"/>
          </p:cNvSpPr>
          <p:nvPr>
            <p:ph type="clipArt" sz="quarter" idx="26" hasCustomPrompt="1"/>
          </p:nvPr>
        </p:nvSpPr>
        <p:spPr bwMode="gray">
          <a:xfrm rot="1500000">
            <a:off x="1066269" y="4485206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2" name="ClipArt-Platzhalter 37"/>
          <p:cNvSpPr>
            <a:spLocks noGrp="1"/>
          </p:cNvSpPr>
          <p:nvPr>
            <p:ph type="clipArt" sz="quarter" idx="27" hasCustomPrompt="1"/>
          </p:nvPr>
        </p:nvSpPr>
        <p:spPr bwMode="gray">
          <a:xfrm rot="1500000">
            <a:off x="1066269" y="535812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FEEBC62-D2D4-47F5-AFD8-DECB50D43BB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4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41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336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  <p:sp>
        <p:nvSpPr>
          <p:cNvPr id="127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7375" y="2753916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128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87375" y="3626644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129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87375" y="4499372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130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87375" y="5372100"/>
            <a:ext cx="478800" cy="6127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cap="all" baseline="0">
                <a:solidFill>
                  <a:schemeClr val="bg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No</a:t>
            </a:r>
          </a:p>
        </p:txBody>
      </p:sp>
      <p:sp>
        <p:nvSpPr>
          <p:cNvPr id="131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51484" y="1881188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2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451484" y="2754110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3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451484" y="3627032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4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51484" y="4499954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5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451484" y="537287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spc="0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4869189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080" y="1458551"/>
            <a:ext cx="10224000" cy="45041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buClr>
                <a:schemeClr val="accent1"/>
              </a:buClr>
              <a:defRPr/>
            </a:lvl2pPr>
            <a:lvl3pPr>
              <a:spcBef>
                <a:spcPts val="0"/>
              </a:spcBef>
              <a:buClr>
                <a:schemeClr val="accent1"/>
              </a:buClr>
              <a:defRPr/>
            </a:lvl3pPr>
            <a:lvl4pPr>
              <a:spcBef>
                <a:spcPts val="0"/>
              </a:spcBef>
              <a:buClr>
                <a:schemeClr val="accent1"/>
              </a:buClr>
              <a:defRPr/>
            </a:lvl4pPr>
            <a:lvl5pPr>
              <a:spcBef>
                <a:spcPts val="0"/>
              </a:spcBef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71080" y="6191595"/>
            <a:ext cx="10224000" cy="123111"/>
          </a:xfrm>
        </p:spPr>
        <p:txBody>
          <a:bodyPr wrap="none" anchor="b">
            <a:no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/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9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32" name="Foliennummernplatzhalter 31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0245" y="1460501"/>
            <a:ext cx="10224000" cy="30777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1" cap="all" baseline="0" dirty="0" smtClean="0">
                <a:solidFill>
                  <a:schemeClr val="accent4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25000"/>
              </a:lnSpc>
              <a:spcBef>
                <a:spcPts val="0"/>
              </a:spcBef>
            </a:pPr>
            <a:r>
              <a:rPr lang="en-US" dirty="0"/>
              <a:t>Click to edit SUB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8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5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/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9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79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7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9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8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5619" cy="73866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785231" y="6535540"/>
            <a:ext cx="902677" cy="20518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27BDB-6C13-4E6B-8CD2-437A1BB7101C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6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9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de-DE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4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invGray">
          <a:xfrm>
            <a:off x="10569527" y="6548440"/>
            <a:ext cx="111838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algn="r">
              <a:spcBef>
                <a:spcPct val="0"/>
              </a:spcBef>
            </a:pPr>
            <a:fld id="{546225A7-BA4F-43EA-9682-AC1DB6E9A8D6}" type="slidenum">
              <a:rPr lang="de-DE" sz="90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pPr algn="r">
                <a:spcBef>
                  <a:spcPct val="0"/>
                </a:spcBef>
              </a:pPr>
              <a:t>‹#›</a:t>
            </a:fld>
            <a:endParaRPr lang="de-DE" sz="90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 numCol="1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alt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969478"/>
            <a:ext cx="9840000" cy="3940897"/>
          </a:xfrm>
        </p:spPr>
        <p:txBody>
          <a:bodyPr numCol="1"/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 numCol="1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 alt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" y="0"/>
            <a:ext cx="1218839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 numCol="1"/>
          <a:lstStyle>
            <a:lvl1pPr>
              <a:defRPr sz="2400" cap="none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69172"/>
          </a:xfrm>
        </p:spPr>
        <p:txBody>
          <a:bodyPr wrap="none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56000" y="1742503"/>
            <a:ext cx="9840000" cy="7196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buNone/>
              <a:defRPr sz="2133">
                <a:latin typeface="+mj-lt"/>
              </a:defRPr>
            </a:lvl2pPr>
            <a:lvl3pPr marL="0" indent="0">
              <a:lnSpc>
                <a:spcPct val="100000"/>
              </a:lnSpc>
              <a:buNone/>
              <a:defRPr sz="2133">
                <a:latin typeface="+mj-lt"/>
              </a:defRPr>
            </a:lvl3pPr>
            <a:lvl4pPr marL="0" indent="0">
              <a:lnSpc>
                <a:spcPct val="100000"/>
              </a:lnSpc>
              <a:buNone/>
              <a:defRPr sz="2133">
                <a:latin typeface="+mj-lt"/>
              </a:defRPr>
            </a:lvl4pPr>
            <a:lvl5pPr marL="0" indent="0">
              <a:lnSpc>
                <a:spcPct val="100000"/>
              </a:lnSpc>
              <a:buNone/>
              <a:defRPr sz="2133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6D85912E-6406-4B47-8385-D96AA405D36B}"/>
              </a:ext>
            </a:extLst>
          </p:cNvPr>
          <p:cNvSpPr/>
          <p:nvPr userDrawn="1"/>
        </p:nvSpPr>
        <p:spPr bwMode="gray">
          <a:xfrm>
            <a:off x="10596500" y="6309320"/>
            <a:ext cx="1224136" cy="396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cap="all" spc="300" noProof="0" dirty="0" err="1">
              <a:latin typeface="+mj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0B1B9D-5DAA-4171-A733-2FC45D043A30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12471" y="3429000"/>
            <a:ext cx="10692154" cy="1403350"/>
          </a:xfrm>
        </p:spPr>
        <p:txBody>
          <a:bodyPr tIns="0" bIns="1512000" anchor="t">
            <a:noAutofit/>
          </a:bodyPr>
          <a:lstStyle>
            <a:lvl1pPr algn="l">
              <a:defRPr sz="6000" spc="-11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Divider slides</a:t>
            </a:r>
            <a:br>
              <a:rPr lang="en-US" noProof="0" dirty="0"/>
            </a:br>
            <a:r>
              <a:rPr lang="en-US" noProof="0" dirty="0"/>
              <a:t>with two lines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07201" y="4958464"/>
            <a:ext cx="10692154" cy="1026411"/>
          </a:xfrm>
        </p:spPr>
        <p:txBody>
          <a:bodyPr tIns="0"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</a:defRPr>
            </a:lvl5pPr>
            <a:lvl6pPr marL="0" indent="0" algn="l">
              <a:spcBef>
                <a:spcPts val="600"/>
              </a:spcBef>
              <a:buNone/>
              <a:defRPr sz="1800" b="0" cap="all" baseline="0">
                <a:solidFill>
                  <a:schemeClr val="bg2"/>
                </a:solidFill>
              </a:defRPr>
            </a:lvl6pPr>
            <a:lvl7pPr marL="0" indent="0" algn="l">
              <a:spcBef>
                <a:spcPts val="600"/>
              </a:spcBef>
              <a:buNone/>
              <a:defRPr sz="1800" b="0" baseline="0">
                <a:solidFill>
                  <a:schemeClr val="bg2"/>
                </a:solidFill>
              </a:defRPr>
            </a:lvl7pPr>
            <a:lvl8pPr marL="0" indent="0" algn="l">
              <a:spcBef>
                <a:spcPts val="600"/>
              </a:spcBef>
              <a:buNone/>
              <a:defRPr sz="1800" b="0" baseline="0">
                <a:solidFill>
                  <a:schemeClr val="bg2"/>
                </a:solidFill>
              </a:defRPr>
            </a:lvl8pPr>
            <a:lvl9pPr marL="0" indent="0" algn="l">
              <a:spcBef>
                <a:spcPts val="600"/>
              </a:spcBef>
              <a:buNone/>
              <a:defRPr sz="1800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BD2638C5-0AD3-4507-8E69-52BC0AD41FCB}"/>
              </a:ext>
            </a:extLst>
          </p:cNvPr>
          <p:cNvSpPr/>
          <p:nvPr userDrawn="1"/>
        </p:nvSpPr>
        <p:spPr bwMode="gray">
          <a:xfrm rot="1500000">
            <a:off x="655994" y="3104417"/>
            <a:ext cx="46800" cy="100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cap="all" spc="300" noProof="0" dirty="0" err="1">
              <a:latin typeface="+mj-lt"/>
            </a:endParaRPr>
          </a:p>
        </p:txBody>
      </p:sp>
      <p:pic>
        <p:nvPicPr>
          <p:cNvPr id="10" name="Graphic 4">
            <a:extLst>
              <a:ext uri="{FF2B5EF4-FFF2-40B4-BE49-F238E27FC236}">
                <a16:creationId xmlns:a16="http://schemas.microsoft.com/office/drawing/2014/main" xmlns="" id="{C28936AE-ED90-4BC7-87F6-F70D9874B3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0249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ßzeile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think-cell Folie" r:id="rId5" imgW="324" imgH="324" progId="TCLayout.ActiveDocument.1">
                  <p:embed/>
                </p:oleObj>
              </mc:Choice>
              <mc:Fallback>
                <p:oleObj name="think-cell Foli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5626079" y="6547739"/>
            <a:ext cx="902677" cy="15388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5FE04F3E-9EA2-4F77-852B-BEED2EF29E47}" type="slidenum">
              <a:rPr lang="de-DE" altLang="de-DE" smtClean="0">
                <a:solidFill>
                  <a:srgbClr val="000000"/>
                </a:solidFill>
              </a:rPr>
              <a:pPr/>
              <a:t>‹#›</a:t>
            </a:fld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82601" y="1757363"/>
            <a:ext cx="11205307" cy="4589463"/>
          </a:xfrm>
        </p:spPr>
        <p:txBody>
          <a:bodyPr/>
          <a:lstStyle>
            <a:lvl2pPr marL="190495" indent="-188909">
              <a:buFont typeface="Arial" panose="020B0604020202020204" pitchFamily="34" charset="0"/>
              <a:buChar char="•"/>
              <a:defRPr/>
            </a:lvl2pPr>
            <a:lvl3pPr marL="380990" indent="-188909">
              <a:buFont typeface="Arial" panose="020B0604020202020204" pitchFamily="34" charset="0"/>
              <a:buChar char="•"/>
              <a:defRPr/>
            </a:lvl3pPr>
            <a:lvl4pPr marL="571486" indent="-188909">
              <a:buFont typeface="Arial" panose="020B0604020202020204" pitchFamily="34" charset="0"/>
              <a:buChar char="•"/>
              <a:defRPr/>
            </a:lvl4pPr>
            <a:lvl5pPr marL="761981" indent="-188909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-1082644" y="1066929"/>
            <a:ext cx="841847" cy="216000"/>
          </a:xfr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1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-1082644" y="1427445"/>
            <a:ext cx="841847" cy="216000"/>
          </a:xfrm>
          <a:solidFill>
            <a:srgbClr val="D4D6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bg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-1082644" y="1787961"/>
            <a:ext cx="841847" cy="216000"/>
          </a:xfr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-1082644" y="2148477"/>
            <a:ext cx="841847" cy="216000"/>
          </a:xfrm>
          <a:solidFill>
            <a:schemeClr val="accent1"/>
          </a:solidFill>
          <a:ln>
            <a:noFill/>
          </a:ln>
          <a:effectLst/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1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-1082644" y="2508993"/>
            <a:ext cx="841847" cy="216000"/>
          </a:xfrm>
          <a:solidFill>
            <a:srgbClr val="00638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2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082644" y="2869509"/>
            <a:ext cx="841847" cy="216000"/>
          </a:xfrm>
          <a:solidFill>
            <a:srgbClr val="5F19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5F1939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-1082644" y="3230025"/>
            <a:ext cx="841847" cy="216000"/>
          </a:xfrm>
          <a:solidFill>
            <a:srgbClr val="80B0C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80B0C8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-1082644" y="3590541"/>
            <a:ext cx="841847" cy="216000"/>
          </a:xfrm>
          <a:solidFill>
            <a:srgbClr val="4C53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4C535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-1082644" y="3951057"/>
            <a:ext cx="841847" cy="216000"/>
          </a:xfrm>
          <a:solidFill>
            <a:srgbClr val="0046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00466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-1082644" y="4311573"/>
            <a:ext cx="841847" cy="216000"/>
          </a:xfrm>
          <a:solidFill>
            <a:srgbClr val="C6DFE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6DFE7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-1082644" y="4672089"/>
            <a:ext cx="841847" cy="216000"/>
          </a:xfrm>
          <a:solidFill>
            <a:srgbClr val="A21E4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A21E4D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-1082644" y="5032605"/>
            <a:ext cx="841847" cy="216000"/>
          </a:xfrm>
          <a:solidFill>
            <a:srgbClr val="D8AA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D8AA00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-1082644" y="5393121"/>
            <a:ext cx="841847" cy="216000"/>
          </a:xfrm>
          <a:solidFill>
            <a:srgbClr val="F6E5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F6E5BC"/>
                </a:solidFill>
                <a:latin typeface="Arial" charset="0"/>
                <a:ea typeface="ＭＳ Ｐゴシック" pitchFamily="-48" charset="-128"/>
              </a:defRPr>
            </a:lvl1pPr>
          </a:lstStyle>
          <a:p>
            <a:pPr lvl="0" algn="ctr" eaLnBrk="0" hangingPunct="0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-1082644" y="5753637"/>
            <a:ext cx="841847" cy="216000"/>
          </a:xfrm>
          <a:solidFill>
            <a:srgbClr val="95A84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95A844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-1082644" y="6114149"/>
            <a:ext cx="841847" cy="216000"/>
          </a:xfrm>
          <a:solidFill>
            <a:srgbClr val="C2CC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2CCA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</p:spTree>
    <p:custDataLst>
      <p:tags r:id="rId2"/>
    </p:custDataLst>
    <p:extLst/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Überschrif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1084384" y="1241427"/>
            <a:ext cx="5421925" cy="184667"/>
          </a:xfr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 anchor="ctr"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85231" y="6568882"/>
            <a:ext cx="902677" cy="1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FA525FF-A6BF-46E0-8713-820BA546BE08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1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Line 14"/>
          <p:cNvSpPr>
            <a:spLocks noChangeShapeType="1"/>
          </p:cNvSpPr>
          <p:nvPr userDrawn="1"/>
        </p:nvSpPr>
        <p:spPr bwMode="gray">
          <a:xfrm>
            <a:off x="513863" y="762000"/>
            <a:ext cx="11166231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10" name="Picture 15" descr="VWAG_PPT_Logo_Folie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3183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1951" cap="none" baseline="0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42637" y="6293090"/>
            <a:ext cx="296984" cy="410369"/>
          </a:xfrm>
        </p:spPr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1149351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el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297" algn="ctr">
              <a:spcBef>
                <a:spcPts val="0"/>
              </a:spcBef>
              <a:buSzTx/>
              <a:buNone/>
              <a:defRPr sz="2200"/>
            </a:lvl2pPr>
            <a:lvl3pPr marL="0" indent="228594" algn="ctr">
              <a:spcBef>
                <a:spcPts val="0"/>
              </a:spcBef>
              <a:buSzTx/>
              <a:buNone/>
              <a:defRPr sz="2200"/>
            </a:lvl3pPr>
            <a:lvl4pPr marL="0" indent="342891" algn="ctr">
              <a:spcBef>
                <a:spcPts val="0"/>
              </a:spcBef>
              <a:buSzTx/>
              <a:buNone/>
              <a:defRPr sz="2200"/>
            </a:lvl4pPr>
            <a:lvl5pPr marL="0" indent="457189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10242637" y="6293090"/>
            <a:ext cx="296984" cy="41036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Berl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1 Hambur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234" y="4171950"/>
            <a:ext cx="11421532" cy="1107996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5234" y="2255484"/>
            <a:ext cx="11421533" cy="1641475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333"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2pPr>
            <a:lvl3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3pPr>
            <a:lvl4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4pPr>
            <a:lvl5pPr marL="0" indent="0">
              <a:lnSpc>
                <a:spcPct val="90000"/>
              </a:lnSpc>
              <a:buNone/>
              <a:defRPr sz="6667" cap="all" baseline="0">
                <a:latin typeface="MarkPro-Heavy" pitchFamily="34" charset="0"/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080" y="1458551"/>
            <a:ext cx="10224000" cy="45041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buClr>
                <a:schemeClr val="accent1"/>
              </a:buClr>
              <a:defRPr/>
            </a:lvl2pPr>
            <a:lvl3pPr>
              <a:spcBef>
                <a:spcPts val="0"/>
              </a:spcBef>
              <a:buClr>
                <a:schemeClr val="accent1"/>
              </a:buClr>
              <a:defRPr/>
            </a:lvl3pPr>
            <a:lvl4pPr>
              <a:spcBef>
                <a:spcPts val="0"/>
              </a:spcBef>
              <a:buClr>
                <a:schemeClr val="accent1"/>
              </a:buClr>
              <a:defRPr/>
            </a:lvl4pPr>
            <a:lvl5pPr>
              <a:spcBef>
                <a:spcPts val="0"/>
              </a:spcBef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71080" y="6191595"/>
            <a:ext cx="10224000" cy="123111"/>
          </a:xfrm>
        </p:spPr>
        <p:txBody>
          <a:bodyPr wrap="none" anchor="b">
            <a:no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/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9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32" name="Foliennummernplatzhalter 31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03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76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5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6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77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93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4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78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91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2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79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9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0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80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87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8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81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5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6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82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3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4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4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255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4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5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56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72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3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57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270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1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58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8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9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59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266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7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60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264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5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61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62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3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05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231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53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4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32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1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2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3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9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0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4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7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5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5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6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36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3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4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37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1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2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38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39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0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06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07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229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208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7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8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09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5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6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10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3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4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11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21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2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212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9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13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7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8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4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15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6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2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bg2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noProof="0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97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438106"/>
            <a:ext cx="770001" cy="17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286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0245" y="1460501"/>
            <a:ext cx="10224000" cy="30777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1" cap="all" baseline="0" dirty="0" smtClean="0">
                <a:solidFill>
                  <a:schemeClr val="accent4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25000"/>
              </a:lnSpc>
              <a:spcBef>
                <a:spcPts val="0"/>
              </a:spcBef>
            </a:pPr>
            <a:r>
              <a:rPr lang="en-US" dirty="0"/>
              <a:t>Click to edit SUB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8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5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/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9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4000" cy="73866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71080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71079" y="101600"/>
            <a:ext cx="10224000" cy="205184"/>
          </a:xfrm>
        </p:spPr>
        <p:txBody>
          <a:bodyPr wrap="square" anchor="t">
            <a:noAutofit/>
          </a:bodyPr>
          <a:lstStyle>
            <a:lvl1pPr>
              <a:defRPr sz="1333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>
          <a:xfrm>
            <a:off x="10242637" y="6293153"/>
            <a:ext cx="296984" cy="410241"/>
          </a:xfrm>
        </p:spPr>
        <p:txBody>
          <a:bodyPr/>
          <a:lstStyle>
            <a:lvl1pPr>
              <a:defRPr sz="1333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130" y="6318251"/>
            <a:ext cx="1394321" cy="539748"/>
          </a:xfrm>
          <a:prstGeom prst="rect">
            <a:avLst/>
          </a:prstGeom>
        </p:spPr>
      </p:pic>
      <p:sp>
        <p:nvSpPr>
          <p:cNvPr id="17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80249" y="6191683"/>
            <a:ext cx="10224000" cy="123111"/>
          </a:xfrm>
        </p:spPr>
        <p:txBody>
          <a:bodyPr anchor="b">
            <a:spAutoFit/>
          </a:bodyPr>
          <a:lstStyle>
            <a:lvl1pPr marL="0" marR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 sz="1067" baseline="0">
                <a:latin typeface="Calibri" panose="020F0502020204030204" pitchFamily="34" charset="0"/>
              </a:defRPr>
            </a:lvl1pPr>
          </a:lstStyle>
          <a:p>
            <a:pPr marL="0" marR="0" lvl="0" indent="0" algn="l" defTabSz="12191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DD7"/>
              </a:buClr>
              <a:buSzTx/>
              <a:buFont typeface="NettoOT" pitchFamily="50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Source: </a:t>
            </a:r>
          </a:p>
        </p:txBody>
      </p:sp>
      <p:sp>
        <p:nvSpPr>
          <p:cNvPr id="18" name="Titel 14"/>
          <p:cNvSpPr>
            <a:spLocks noGrp="1"/>
          </p:cNvSpPr>
          <p:nvPr>
            <p:ph type="title" hasCustomPrompt="1"/>
          </p:nvPr>
        </p:nvSpPr>
        <p:spPr>
          <a:xfrm>
            <a:off x="871077" y="579689"/>
            <a:ext cx="10225619" cy="73866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785231" y="6535540"/>
            <a:ext cx="902677" cy="20518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27BDB-6C13-4E6B-8CD2-437A1BB7101C}" type="slidenum">
              <a:rPr lang="de-DE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3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6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7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14"/>
          <p:cNvSpPr>
            <a:spLocks noChangeShapeType="1"/>
          </p:cNvSpPr>
          <p:nvPr/>
        </p:nvSpPr>
        <p:spPr bwMode="gray">
          <a:xfrm>
            <a:off x="482602" y="762000"/>
            <a:ext cx="1120335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de-DE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4" name="Picture 15" descr="VWAG_PPT_Logo_Fol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929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invGray">
          <a:xfrm>
            <a:off x="10569527" y="6548440"/>
            <a:ext cx="111838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algn="r">
              <a:spcBef>
                <a:spcPct val="0"/>
              </a:spcBef>
            </a:pPr>
            <a:fld id="{546225A7-BA4F-43EA-9682-AC1DB6E9A8D6}" type="slidenum">
              <a:rPr lang="de-DE" sz="90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pPr algn="r">
                <a:spcBef>
                  <a:spcPct val="0"/>
                </a:spcBef>
              </a:pPr>
              <a:t>‹#›</a:t>
            </a:fld>
            <a:endParaRPr lang="de-DE" sz="90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2"/>
          </p:nvPr>
        </p:nvSpPr>
        <p:spPr>
          <a:xfrm>
            <a:off x="490418" y="6548439"/>
            <a:ext cx="2096476" cy="1793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79381" y="6548439"/>
            <a:ext cx="5813364" cy="179387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71200"/>
          </a:xfrm>
        </p:spPr>
        <p:txBody>
          <a:bodyPr wrap="none" numCol="1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 alt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000" y="1969478"/>
            <a:ext cx="9840000" cy="3940897"/>
          </a:xfrm>
        </p:spPr>
        <p:txBody>
          <a:bodyPr numCol="1"/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 numCol="1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 alt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" y="0"/>
            <a:ext cx="1218839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 numCol="1"/>
          <a:lstStyle>
            <a:lvl1pPr>
              <a:defRPr sz="2400" cap="none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numCol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numCol="1"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569172"/>
          </a:xfrm>
        </p:spPr>
        <p:txBody>
          <a:bodyPr wrap="none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56000" y="1742503"/>
            <a:ext cx="9840000" cy="7196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buNone/>
              <a:defRPr sz="2133">
                <a:latin typeface="+mj-lt"/>
              </a:defRPr>
            </a:lvl2pPr>
            <a:lvl3pPr marL="0" indent="0">
              <a:lnSpc>
                <a:spcPct val="100000"/>
              </a:lnSpc>
              <a:buNone/>
              <a:defRPr sz="2133">
                <a:latin typeface="+mj-lt"/>
              </a:defRPr>
            </a:lvl3pPr>
            <a:lvl4pPr marL="0" indent="0">
              <a:lnSpc>
                <a:spcPct val="100000"/>
              </a:lnSpc>
              <a:buNone/>
              <a:defRPr sz="2133">
                <a:latin typeface="+mj-lt"/>
              </a:defRPr>
            </a:lvl4pPr>
            <a:lvl5pPr marL="0" indent="0">
              <a:lnSpc>
                <a:spcPct val="100000"/>
              </a:lnSpc>
              <a:buNone/>
              <a:defRPr sz="2133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569712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ßzeile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1" name="think-cell Folie" r:id="rId5" imgW="324" imgH="324" progId="TCLayout.ActiveDocument.1">
                  <p:embed/>
                </p:oleObj>
              </mc:Choice>
              <mc:Fallback>
                <p:oleObj name="think-cell Foli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5626079" y="6547739"/>
            <a:ext cx="902677" cy="15388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5FE04F3E-9EA2-4F77-852B-BEED2EF29E47}" type="slidenum">
              <a:rPr lang="de-DE" altLang="de-DE" smtClean="0">
                <a:solidFill>
                  <a:srgbClr val="000000"/>
                </a:solidFill>
              </a:rPr>
              <a:pPr/>
              <a:t>‹#›</a:t>
            </a:fld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82601" y="1757363"/>
            <a:ext cx="11205307" cy="4589463"/>
          </a:xfrm>
        </p:spPr>
        <p:txBody>
          <a:bodyPr/>
          <a:lstStyle>
            <a:lvl2pPr marL="190495" indent="-188909">
              <a:buFont typeface="Arial" panose="020B0604020202020204" pitchFamily="34" charset="0"/>
              <a:buChar char="•"/>
              <a:defRPr/>
            </a:lvl2pPr>
            <a:lvl3pPr marL="380990" indent="-188909">
              <a:buFont typeface="Arial" panose="020B0604020202020204" pitchFamily="34" charset="0"/>
              <a:buChar char="•"/>
              <a:defRPr/>
            </a:lvl3pPr>
            <a:lvl4pPr marL="571486" indent="-188909">
              <a:buFont typeface="Arial" panose="020B0604020202020204" pitchFamily="34" charset="0"/>
              <a:buChar char="•"/>
              <a:defRPr/>
            </a:lvl4pPr>
            <a:lvl5pPr marL="761981" indent="-188909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-1082644" y="1066929"/>
            <a:ext cx="841847" cy="216000"/>
          </a:xfr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1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-1082644" y="1427445"/>
            <a:ext cx="841847" cy="216000"/>
          </a:xfrm>
          <a:solidFill>
            <a:srgbClr val="D4D6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bg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-1082644" y="1787961"/>
            <a:ext cx="841847" cy="216000"/>
          </a:xfr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chemeClr val="tx2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-1082644" y="2148477"/>
            <a:ext cx="841847" cy="216000"/>
          </a:xfrm>
          <a:solidFill>
            <a:schemeClr val="accent1"/>
          </a:solidFill>
          <a:ln>
            <a:noFill/>
          </a:ln>
          <a:effectLst/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1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-1082644" y="2508993"/>
            <a:ext cx="841847" cy="216000"/>
          </a:xfrm>
          <a:solidFill>
            <a:srgbClr val="00638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chemeClr val="accent2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082644" y="2869509"/>
            <a:ext cx="841847" cy="216000"/>
          </a:xfrm>
          <a:solidFill>
            <a:srgbClr val="5F19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5F1939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-1082644" y="3230025"/>
            <a:ext cx="841847" cy="216000"/>
          </a:xfrm>
          <a:solidFill>
            <a:srgbClr val="80B0C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80B0C8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-1082644" y="3590541"/>
            <a:ext cx="841847" cy="216000"/>
          </a:xfrm>
          <a:solidFill>
            <a:srgbClr val="4C53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4C535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-1082644" y="3951057"/>
            <a:ext cx="841847" cy="216000"/>
          </a:xfrm>
          <a:solidFill>
            <a:srgbClr val="0046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00466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-1082644" y="4311573"/>
            <a:ext cx="841847" cy="216000"/>
          </a:xfrm>
          <a:solidFill>
            <a:srgbClr val="C6DFE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6DFE7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-1082644" y="4672089"/>
            <a:ext cx="841847" cy="216000"/>
          </a:xfrm>
          <a:solidFill>
            <a:srgbClr val="A21E4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A21E4D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-1082644" y="5032605"/>
            <a:ext cx="841847" cy="216000"/>
          </a:xfrm>
          <a:solidFill>
            <a:srgbClr val="D8AA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83" tIns="33741" rIns="67483" bIns="33741" anchor="ctr"/>
          <a:lstStyle>
            <a:lvl1pPr>
              <a:defRPr lang="de-DE" sz="900" b="1" kern="1200" dirty="0">
                <a:solidFill>
                  <a:srgbClr val="D8AA00"/>
                </a:solidFill>
                <a:latin typeface="Arial" charset="0"/>
              </a:defRPr>
            </a:lvl1pPr>
          </a:lstStyle>
          <a:p>
            <a:pPr lvl="0" algn="ctr" defTabSz="674671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-1082644" y="5393121"/>
            <a:ext cx="841847" cy="216000"/>
          </a:xfrm>
          <a:solidFill>
            <a:srgbClr val="F6E5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F6E5BC"/>
                </a:solidFill>
                <a:latin typeface="Arial" charset="0"/>
                <a:ea typeface="ＭＳ Ｐゴシック" pitchFamily="-48" charset="-128"/>
              </a:defRPr>
            </a:lvl1pPr>
          </a:lstStyle>
          <a:p>
            <a:pPr lvl="0" algn="ctr" eaLnBrk="0" hangingPunct="0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-1082644" y="5753637"/>
            <a:ext cx="841847" cy="216000"/>
          </a:xfrm>
          <a:solidFill>
            <a:srgbClr val="95A84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95A844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-1082644" y="6114149"/>
            <a:ext cx="841847" cy="216000"/>
          </a:xfrm>
          <a:solidFill>
            <a:srgbClr val="C2CC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5" tIns="47893" rIns="95785" bIns="47893" anchor="ctr"/>
          <a:lstStyle>
            <a:lvl1pPr>
              <a:defRPr lang="de-DE" sz="900" b="1" kern="1200" dirty="0">
                <a:solidFill>
                  <a:srgbClr val="C2CCA6"/>
                </a:solidFill>
                <a:latin typeface="Arial" charset="0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de-DE" dirty="0"/>
              <a:t>t</a:t>
            </a:r>
          </a:p>
        </p:txBody>
      </p:sp>
    </p:spTree>
    <p:custDataLst>
      <p:tags r:id="rId2"/>
    </p:custDataLst>
    <p:extLst/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Überschrif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1084384" y="1241427"/>
            <a:ext cx="5421925" cy="184667"/>
          </a:xfr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 anchor="ctr"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85231" y="6568882"/>
            <a:ext cx="902677" cy="1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FA525FF-A6BF-46E0-8713-820BA546BE08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11011779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5669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9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242637" y="6429023"/>
            <a:ext cx="296984" cy="138500"/>
          </a:xfrm>
        </p:spPr>
        <p:txBody>
          <a:bodyPr/>
          <a:lstStyle>
            <a:lvl1pPr algn="r" defTabSz="958827">
              <a:spcBef>
                <a:spcPct val="0"/>
              </a:spcBef>
              <a:defRPr sz="9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EFFFA24-D5DC-4D4F-983A-590A7F3A233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1909" y="6548439"/>
            <a:ext cx="3864708" cy="179387"/>
          </a:xfrm>
          <a:prstGeom prst="rect">
            <a:avLst/>
          </a:prstGeom>
        </p:spPr>
        <p:txBody>
          <a:bodyPr/>
          <a:lstStyle>
            <a:lvl1pPr defTabSz="674671">
              <a:spcBef>
                <a:spcPct val="0"/>
              </a:spcBef>
              <a:defRPr sz="9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Line 14"/>
          <p:cNvSpPr>
            <a:spLocks noChangeShapeType="1"/>
          </p:cNvSpPr>
          <p:nvPr userDrawn="1"/>
        </p:nvSpPr>
        <p:spPr bwMode="gray">
          <a:xfrm>
            <a:off x="513863" y="762000"/>
            <a:ext cx="11166231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10" name="Picture 15" descr="VWAG_PPT_Logo_Folie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318370" y="304800"/>
            <a:ext cx="156307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6000" y="579689"/>
            <a:ext cx="9840000" cy="571200"/>
          </a:xfrm>
        </p:spPr>
        <p:txBody>
          <a:bodyPr wrap="square"/>
          <a:lstStyle>
            <a:lvl1pPr>
              <a:defRPr sz="1951" cap="none" baseline="0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60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0" y="63563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42637" y="6293090"/>
            <a:ext cx="296984" cy="410369"/>
          </a:xfrm>
        </p:spPr>
        <p:txBody>
          <a:bodyPr/>
          <a:lstStyle/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055999" y="240000"/>
            <a:ext cx="9840000" cy="360000"/>
          </a:xfrm>
        </p:spPr>
        <p:txBody>
          <a:bodyPr wrap="none"/>
          <a:lstStyle>
            <a:lvl1pPr>
              <a:defRPr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/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1149351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el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297" algn="ctr">
              <a:spcBef>
                <a:spcPts val="0"/>
              </a:spcBef>
              <a:buSzTx/>
              <a:buNone/>
              <a:defRPr sz="2200"/>
            </a:lvl2pPr>
            <a:lvl3pPr marL="0" indent="228594" algn="ctr">
              <a:spcBef>
                <a:spcPts val="0"/>
              </a:spcBef>
              <a:buSzTx/>
              <a:buNone/>
              <a:defRPr sz="2200"/>
            </a:lvl3pPr>
            <a:lvl4pPr marL="0" indent="342891" algn="ctr">
              <a:spcBef>
                <a:spcPts val="0"/>
              </a:spcBef>
              <a:buSzTx/>
              <a:buNone/>
              <a:defRPr sz="2200"/>
            </a:lvl4pPr>
            <a:lvl5pPr marL="0" indent="457189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10242637" y="6293090"/>
            <a:ext cx="296984" cy="41036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grpSp>
        <p:nvGrpSpPr>
          <p:cNvPr id="24" name="Gruppieren 2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5" name="Gruppieren 2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7" name="Gerade Verbindung 10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8" name="Textfeld 10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5" name="Gerade Verbindung 10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6" name="Textfeld 10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6" name="Gruppieren 2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6" name="Gerade Verbindung 8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Textfeld 8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4" name="Gerade Verbindung 8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Textfeld 8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7" name="Gruppieren 2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7" name="Gruppieren 5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8" name="Gruppieren 5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8" name="Gruppieren 2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9" name="Gruppieren 2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0" name="Gruppieren 2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1" name="Gruppieren 3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37" name="Gerade Verbindung 3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8" name="Textfeld 3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8883ED7-E406-48EB-A548-852435A1E26E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013" y="2097088"/>
            <a:ext cx="6101974" cy="2639440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6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375" y="4184650"/>
            <a:ext cx="11017250" cy="1800411"/>
          </a:xfrm>
        </p:spPr>
        <p:txBody>
          <a:bodyPr t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/>
            </a:lvl2pPr>
            <a:lvl3pPr marL="0" indent="0" algn="l">
              <a:spcBef>
                <a:spcPts val="600"/>
              </a:spcBef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spcBef>
                <a:spcPts val="600"/>
              </a:spcBef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, AUTHOR, LOCATION</a:t>
            </a:r>
          </a:p>
          <a:p>
            <a:pPr lvl="0"/>
            <a:r>
              <a:rPr lang="en-US" noProof="0" dirty="0"/>
              <a:t>Year / Month / day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47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anchor="b"/>
          <a:lstStyle>
            <a:lvl1pPr>
              <a:defRPr sz="28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51484" y="2097088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7375" y="2097088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2916035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3734982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7375" y="4553929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78461" y="5372875"/>
            <a:ext cx="476979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3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>
            <a:off x="1066267" y="2082340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9" name="ClipArt-Platzhalter 37"/>
          <p:cNvSpPr>
            <a:spLocks noGrp="1"/>
          </p:cNvSpPr>
          <p:nvPr>
            <p:ph type="clipArt" sz="quarter" idx="24" hasCustomPrompt="1"/>
          </p:nvPr>
        </p:nvSpPr>
        <p:spPr bwMode="gray">
          <a:xfrm rot="1500000">
            <a:off x="1066268" y="290128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0" name="ClipArt-Platzhalter 37"/>
          <p:cNvSpPr>
            <a:spLocks noGrp="1"/>
          </p:cNvSpPr>
          <p:nvPr>
            <p:ph type="clipArt" sz="quarter" idx="25" hasCustomPrompt="1"/>
          </p:nvPr>
        </p:nvSpPr>
        <p:spPr bwMode="gray">
          <a:xfrm rot="1500000">
            <a:off x="1066269" y="3720235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1" name="ClipArt-Platzhalter 37"/>
          <p:cNvSpPr>
            <a:spLocks noGrp="1"/>
          </p:cNvSpPr>
          <p:nvPr>
            <p:ph type="clipArt" sz="quarter" idx="26" hasCustomPrompt="1"/>
          </p:nvPr>
        </p:nvSpPr>
        <p:spPr bwMode="gray">
          <a:xfrm rot="1500000">
            <a:off x="1066269" y="4539182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2" name="ClipArt-Platzhalter 37"/>
          <p:cNvSpPr>
            <a:spLocks noGrp="1"/>
          </p:cNvSpPr>
          <p:nvPr>
            <p:ph type="clipArt" sz="quarter" idx="27" hasCustomPrompt="1"/>
          </p:nvPr>
        </p:nvSpPr>
        <p:spPr bwMode="gray">
          <a:xfrm rot="1500000">
            <a:off x="1066269" y="535812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grpSp>
        <p:nvGrpSpPr>
          <p:cNvPr id="44" name="Gruppieren 4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45" name="Gruppieren 4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8" name="Gruppieren 11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7" name="Gerade Verbindung 13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feld 13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19" name="Gruppieren 11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5" name="Gerade Verbindung 13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Textfeld 13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20" name="Gruppieren 11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3" name="Gerade Verbindung 13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feld 13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21" name="Gruppieren 12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1" name="Gerade Verbindung 13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3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22" name="Gruppieren 12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9" name="Gerade Verbindung 12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2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23" name="Gruppieren 12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7" name="Gerade Verbindung 12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2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24" name="Gruppieren 12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5" name="Gerade Verbindung 1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6" name="Gruppieren 4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97" name="Gruppieren 9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6" name="Gerade Verbindung 1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7" name="Textfeld 11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4" name="Gerade Verbindung 11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Textfeld 11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2" name="Gerade Verbindung 11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Textfeld 11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0" name="Gerade Verbindung 10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Textfeld 11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8" name="Gerade Verbindung 10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Textfeld 10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6" name="Gerade Verbindung 10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7" name="Textfeld 10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4" name="Gerade Verbindung 10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Textfeld 10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7" name="Gruppieren 4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3" name="Gruppieren 7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4" name="Gruppieren 7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75" name="Gruppieren 7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6" name="Gruppieren 7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3" name="Gerade Verbindung 8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feld 8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48" name="Gruppieren 4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49" name="Gruppieren 4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0" name="Gruppieren 4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1" name="Gruppieren 5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2" name="Gruppieren 5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9" name="Gerade Verbindung 5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0" name="Textfeld 5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3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FEEBC62-D2D4-47F5-AFD8-DECB50D43BB8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4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1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2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51484" y="291603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3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51484" y="3734982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4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451484" y="4553929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5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451484" y="537287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4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0B1B9D-5DAA-4171-A733-2FC45D043A30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10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 flipH="1">
            <a:off x="656349" y="3103273"/>
            <a:ext cx="45720" cy="100584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12471" y="3429000"/>
            <a:ext cx="10692154" cy="1403350"/>
          </a:xfrm>
        </p:spPr>
        <p:txBody>
          <a:bodyPr tIns="0" bIns="1512000" anchor="t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slides</a:t>
            </a:r>
            <a:br>
              <a:rPr lang="en-US" noProof="0" dirty="0"/>
            </a:br>
            <a:r>
              <a:rPr lang="en-US" noProof="0" dirty="0"/>
              <a:t>with two lines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07201" y="4958464"/>
            <a:ext cx="10692154" cy="1026411"/>
          </a:xfrm>
        </p:spPr>
        <p:txBody>
          <a:bodyPr tIns="0"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buNone/>
              <a:defRPr sz="1800" cap="all" baseline="0"/>
            </a:lvl2pPr>
            <a:lvl3pPr marL="0" indent="0" algn="l"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9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1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5364163" cy="38877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34112" y="2097088"/>
            <a:ext cx="5364163" cy="388778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Gerade Verbindung 125"/>
          <p:cNvCxnSpPr/>
          <p:nvPr userDrawn="1"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3"/>
            <a:ext cx="34925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097088"/>
            <a:ext cx="7237412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1881188"/>
            <a:ext cx="5364163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40463" y="1881188"/>
            <a:ext cx="5357812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0061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3492000" cy="72072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2097088"/>
            <a:ext cx="345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7234483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2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3457575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4" y="728663"/>
            <a:ext cx="3492501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34925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184650"/>
            <a:ext cx="34560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67213" y="728663"/>
            <a:ext cx="3456000" cy="316865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09195" y="728663"/>
            <a:ext cx="3492000" cy="3168650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723600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824789" y="1"/>
            <a:ext cx="4367211" cy="4184650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big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5364163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951539" y="1"/>
            <a:ext cx="6240462" cy="5979594"/>
          </a:xfrm>
          <a:custGeom>
            <a:avLst/>
            <a:gdLst/>
            <a:ahLst/>
            <a:cxnLst/>
            <a:rect l="l" t="t" r="r" b="b"/>
            <a:pathLst>
              <a:path w="4370939" h="4190107">
                <a:moveTo>
                  <a:pt x="0" y="0"/>
                </a:moveTo>
                <a:lnTo>
                  <a:pt x="4370939" y="0"/>
                </a:lnTo>
                <a:lnTo>
                  <a:pt x="4370939" y="419010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and 1x 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7236000" cy="38877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09195" y="728663"/>
            <a:ext cx="3492000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Content and 3 x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1778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4367214" y="4184650"/>
            <a:ext cx="34560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/>
          </p:nvPr>
        </p:nvSpPr>
        <p:spPr bwMode="gray">
          <a:xfrm>
            <a:off x="8106653" y="4184650"/>
            <a:ext cx="3492500" cy="18002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2097087"/>
            <a:ext cx="3492501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67214" y="2097087"/>
            <a:ext cx="3455652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Bildplatzhalter 12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109195" y="2097087"/>
            <a:ext cx="3492501" cy="180022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P:\Projekte\MOIA\02_P170083_TEMPLATE\03_FOLIENBIBLIOTHEK\_Media\Bild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92000" cy="6859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4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40000">
                <a:srgbClr val="009DD7">
                  <a:alpha val="56000"/>
                </a:srgbClr>
              </a:gs>
              <a:gs pos="0">
                <a:srgbClr val="1AA37F">
                  <a:alpha val="64000"/>
                </a:srgbClr>
              </a:gs>
              <a:gs pos="90000">
                <a:srgbClr val="0A2737">
                  <a:alpha val="73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cxnSp>
        <p:nvCxnSpPr>
          <p:cNvPr id="20" name="Gerade Verbindung 125"/>
          <p:cNvCxnSpPr/>
          <p:nvPr userDrawn="1"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2"/>
            <a:ext cx="3492000" cy="13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4" y="0"/>
            <a:ext cx="11014321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6pPr>
            <a:lvl7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7pPr>
            <a:lvl8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8pPr>
            <a:lvl9pPr marL="0" algn="ctr"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367214" y="4184650"/>
            <a:ext cx="3456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12125" y="4184650"/>
            <a:ext cx="3492000" cy="1800225"/>
          </a:xfrm>
        </p:spPr>
        <p:txBody>
          <a:bodyPr tIns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367214" y="3427563"/>
            <a:ext cx="34560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2125" y="3427563"/>
            <a:ext cx="3492500" cy="450000"/>
          </a:xfrm>
          <a:noFill/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800"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2098985"/>
            <a:ext cx="5364162" cy="3885889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pic>
        <p:nvPicPr>
          <p:cNvPr id="17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1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33A39520-481E-4175-8795-8DE23B6A77FA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tx2"/>
                </a:solidFill>
              </a:defRPr>
            </a:lvl9pPr>
          </a:lstStyle>
          <a:p>
            <a:pPr lvl="8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457088"/>
            <a:ext cx="5364164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40462" y="2457088"/>
            <a:ext cx="5365659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1881188"/>
            <a:ext cx="5364932" cy="5762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6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1189" y="1881188"/>
            <a:ext cx="5364932" cy="5762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600"/>
              </a:spcBef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600"/>
              </a:spcBef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spcBef>
                <a:spcPts val="600"/>
              </a:spcBef>
              <a:defRPr b="0" cap="all" spc="300" baseline="0">
                <a:solidFill>
                  <a:schemeClr val="bg1"/>
                </a:solidFill>
                <a:latin typeface="+mj-lt"/>
              </a:defRPr>
            </a:lvl6pPr>
            <a:lvl7pPr algn="ctr">
              <a:spcBef>
                <a:spcPts val="600"/>
              </a:spcBef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spcBef>
                <a:spcPts val="600"/>
              </a:spcBef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spcBef>
                <a:spcPts val="600"/>
              </a:spcBef>
              <a:defRPr sz="1600" cap="all" spc="30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 err="1"/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9951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87374" y="728663"/>
            <a:ext cx="5364164" cy="5256212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63" y="2098985"/>
            <a:ext cx="5364162" cy="3885889"/>
          </a:xfrm>
        </p:spPr>
        <p:txBody>
          <a:bodyPr tIns="28800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spc="-110" baseline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4800" b="0" cap="all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Position</a:t>
            </a:r>
          </a:p>
          <a:p>
            <a:pPr lvl="1"/>
            <a:r>
              <a:rPr lang="en-US" noProof="0" dirty="0"/>
              <a:t>Name</a:t>
            </a:r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6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1FDDEA9-B4B7-4FEE-8563-884D92F018BD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/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3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1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1"/>
            <a:r>
              <a:rPr lang="en-US" noProof="0" dirty="0"/>
              <a:t>Message</a:t>
            </a:r>
          </a:p>
        </p:txBody>
      </p:sp>
      <p:pic>
        <p:nvPicPr>
          <p:cNvPr id="8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gray">
          <a:xfrm>
            <a:off x="10834624" y="6273800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D232A39-4B70-8C41-A890-BC4887184C9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Picture Placeholder 24"/>
          <p:cNvSpPr>
            <a:spLocks noGrp="1"/>
          </p:cNvSpPr>
          <p:nvPr>
            <p:ph type="pic" sz="quarter" idx="17" hasCustomPrompt="1"/>
          </p:nvPr>
        </p:nvSpPr>
        <p:spPr>
          <a:xfrm>
            <a:off x="10332328" y="275115"/>
            <a:ext cx="1266825" cy="233362"/>
          </a:xfrm>
          <a:blipFill dpi="0" rotWithShape="1">
            <a:blip r:embed="rId4"/>
            <a:srcRect/>
            <a:stretch>
              <a:fillRect l="-7000" t="-3000" r="-7000" b="-23000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097088"/>
            <a:ext cx="11011779" cy="38877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x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E33191-2EE5-4368-B068-5CF7CE74EA48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anchor="b"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0"/>
            <a:ext cx="11017250" cy="728662"/>
          </a:xfrm>
        </p:spPr>
        <p:txBody>
          <a:bodyPr bIns="144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 baseline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Insert chapter tit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6273800"/>
            <a:ext cx="10333161" cy="358962"/>
          </a:xfrm>
        </p:spPr>
        <p:txBody>
          <a:bodyPr bIns="0" anchor="b"/>
          <a:lstStyle>
            <a:lvl1pPr marL="0" indent="0" algn="l">
              <a:spcBef>
                <a:spcPts val="0"/>
              </a:spcBef>
              <a:buNone/>
              <a:defRPr sz="800"/>
            </a:lvl1pPr>
            <a:lvl2pPr marL="0" indent="0" algn="l">
              <a:spcBef>
                <a:spcPts val="0"/>
              </a:spcBef>
              <a:buNone/>
              <a:defRPr sz="800"/>
            </a:lvl2pPr>
            <a:lvl3pPr marL="0" indent="0" algn="l">
              <a:spcBef>
                <a:spcPts val="0"/>
              </a:spcBef>
              <a:buNone/>
              <a:defRPr sz="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800"/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b="0" kern="1200" cap="none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footer for source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 bwMode="gray">
          <a:xfrm>
            <a:off x="587375" y="2457088"/>
            <a:ext cx="5364164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1"/>
          </p:nvPr>
        </p:nvSpPr>
        <p:spPr bwMode="gray">
          <a:xfrm>
            <a:off x="6234112" y="2457088"/>
            <a:ext cx="5372010" cy="3527787"/>
          </a:xfrm>
        </p:spPr>
        <p:txBody>
          <a:bodyPr tIns="25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7375" y="2097088"/>
            <a:ext cx="5364932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34112" y="2097088"/>
            <a:ext cx="5372010" cy="3603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cap="all" spc="300" baseline="0">
                <a:solidFill>
                  <a:schemeClr val="bg1"/>
                </a:solidFill>
                <a:latin typeface="+mj-lt"/>
              </a:defRPr>
            </a:lvl5pPr>
            <a:lvl6pPr algn="ctr">
              <a:defRPr b="0" spc="300">
                <a:solidFill>
                  <a:schemeClr val="bg1"/>
                </a:solidFill>
                <a:latin typeface="+mj-lt"/>
              </a:defRPr>
            </a:lvl6pPr>
            <a:lvl7pPr algn="ctr">
              <a:defRPr sz="1600" b="0" spc="300">
                <a:solidFill>
                  <a:schemeClr val="bg1"/>
                </a:solidFill>
                <a:latin typeface="+mj-lt"/>
              </a:defRPr>
            </a:lvl7pPr>
            <a:lvl8pPr algn="ctr">
              <a:defRPr sz="1600" b="0" strike="noStrike" spc="300">
                <a:solidFill>
                  <a:schemeClr val="bg1"/>
                </a:solidFill>
                <a:latin typeface="+mj-lt"/>
              </a:defRPr>
            </a:lvl8pPr>
            <a:lvl9pPr algn="ctr">
              <a:defRPr sz="1600" spc="3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HEADLIN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grpSp>
        <p:nvGrpSpPr>
          <p:cNvPr id="24" name="Gruppieren 2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25" name="Gruppieren 2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7" name="Gerade Verbindung 10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8" name="Textfeld 10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5" name="Gerade Verbindung 10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6" name="Textfeld 10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6" name="Gruppieren 2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6" name="Gerade Verbindung 8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Textfeld 8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4" name="Gerade Verbindung 8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5" name="Textfeld 8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27" name="Gruppieren 2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7" name="Gruppieren 5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8" name="Gruppieren 5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28" name="Gruppieren 2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29" name="Gruppieren 2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0" name="Gruppieren 2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1" name="Gruppieren 3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37" name="Gerade Verbindung 3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8" name="Textfeld 3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08883ED7-E406-48EB-A548-852435A1E26E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013" y="2097088"/>
            <a:ext cx="6101974" cy="2639440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6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87375" y="1449388"/>
            <a:ext cx="11017250" cy="2735262"/>
          </a:xfrm>
        </p:spPr>
        <p:txBody>
          <a:bodyPr anchor="b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</a:t>
            </a:r>
            <a:br>
              <a:rPr lang="en-US" noProof="0" dirty="0"/>
            </a:br>
            <a:r>
              <a:rPr lang="en-US" noProof="0" dirty="0"/>
              <a:t>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6" name="Gruppieren 5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9" name="Gerade Verbindung 9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extfeld 9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2" name="Gruppieren 81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7" name="Gruppieren 6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59" name="Gruppieren 58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8" name="Gerade Verbindung 7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feld 7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0" name="Gruppieren 59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6" name="Gerade Verbindung 7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feld 7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1" name="Gruppieren 60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4" name="Gerade Verbindung 7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feld 7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2" name="Gerade Verbindung 7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feld 7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0" name="Gerade Verbindung 6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feld 7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68" name="Gerade Verbindung 6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feld 6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6" name="Gerade Verbindung 6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Textfeld 6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5" name="Gerade Verbindung 5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6" name="Textfeld 5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3" name="Gerade Verbindung 5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Textfeld 5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9" name="Gruppieren 8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3" name="Gerade Verbindung 3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feld 3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1" name="Gerade Verbindung 3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feld 3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" name="Gruppieren 1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9" name="Gerade Verbindung 2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feld 2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7" name="Gerade Verbindung 2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feld 2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3" name="Gerade Verbindung 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feld 2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1" name="Gerade Verbindung 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feld 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1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9CADFAE0-F060-4D64-A890-7A1675926DF5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2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375" y="4184650"/>
            <a:ext cx="11017250" cy="1800411"/>
          </a:xfrm>
        </p:spPr>
        <p:txBody>
          <a:bodyPr t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600"/>
              </a:spcBef>
              <a:buNone/>
              <a:defRPr sz="1800" cap="all" baseline="0"/>
            </a:lvl2pPr>
            <a:lvl3pPr marL="0" indent="0" algn="l">
              <a:spcBef>
                <a:spcPts val="600"/>
              </a:spcBef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spcBef>
                <a:spcPts val="600"/>
              </a:spcBef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, AUTHOR, LOCATION</a:t>
            </a:r>
          </a:p>
          <a:p>
            <a:pPr lvl="0"/>
            <a:r>
              <a:rPr lang="en-US" noProof="0" dirty="0"/>
              <a:t>Year / Month / day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47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anchor="b"/>
          <a:lstStyle>
            <a:lvl1pPr>
              <a:defRPr sz="28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51484" y="2097088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7375" y="2097088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87375" y="2916035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375" y="3734982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87375" y="4553929"/>
            <a:ext cx="468065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78461" y="5372875"/>
            <a:ext cx="476979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800" b="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b="0" cap="none" baseline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38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>
            <a:off x="1066267" y="2082340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9" name="ClipArt-Platzhalter 37"/>
          <p:cNvSpPr>
            <a:spLocks noGrp="1"/>
          </p:cNvSpPr>
          <p:nvPr>
            <p:ph type="clipArt" sz="quarter" idx="24" hasCustomPrompt="1"/>
          </p:nvPr>
        </p:nvSpPr>
        <p:spPr bwMode="gray">
          <a:xfrm rot="1500000">
            <a:off x="1066268" y="290128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0" name="ClipArt-Platzhalter 37"/>
          <p:cNvSpPr>
            <a:spLocks noGrp="1"/>
          </p:cNvSpPr>
          <p:nvPr>
            <p:ph type="clipArt" sz="quarter" idx="25" hasCustomPrompt="1"/>
          </p:nvPr>
        </p:nvSpPr>
        <p:spPr bwMode="gray">
          <a:xfrm rot="1500000">
            <a:off x="1066269" y="3720235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1" name="ClipArt-Platzhalter 37"/>
          <p:cNvSpPr>
            <a:spLocks noGrp="1"/>
          </p:cNvSpPr>
          <p:nvPr>
            <p:ph type="clipArt" sz="quarter" idx="26" hasCustomPrompt="1"/>
          </p:nvPr>
        </p:nvSpPr>
        <p:spPr bwMode="gray">
          <a:xfrm rot="1500000">
            <a:off x="1066269" y="4539182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2" name="ClipArt-Platzhalter 37"/>
          <p:cNvSpPr>
            <a:spLocks noGrp="1"/>
          </p:cNvSpPr>
          <p:nvPr>
            <p:ph type="clipArt" sz="quarter" idx="27" hasCustomPrompt="1"/>
          </p:nvPr>
        </p:nvSpPr>
        <p:spPr bwMode="gray">
          <a:xfrm rot="1500000">
            <a:off x="1066269" y="5358128"/>
            <a:ext cx="18000" cy="39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grpSp>
        <p:nvGrpSpPr>
          <p:cNvPr id="44" name="Gruppieren 43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45" name="Gruppieren 44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8" name="Gruppieren 117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7" name="Gerade Verbindung 13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feld 13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19" name="Gruppieren 118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5" name="Gerade Verbindung 13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Textfeld 13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20" name="Gruppieren 119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3" name="Gerade Verbindung 13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feld 13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21" name="Gruppieren 120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1" name="Gerade Verbindung 13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feld 131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22" name="Gruppieren 121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9" name="Gerade Verbindung 12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feld 12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23" name="Gruppieren 122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7" name="Gerade Verbindung 12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feld 127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24" name="Gruppieren 123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25" name="Gerade Verbindung 1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feld 1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6" name="Gruppieren 45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97" name="Gruppieren 96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6" name="Gerade Verbindung 1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7" name="Textfeld 11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98" name="Gruppieren 97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4" name="Gerade Verbindung 11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Textfeld 114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99" name="Gruppieren 98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2" name="Gerade Verbindung 11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Textfeld 112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00" name="Gruppieren 99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10" name="Gerade Verbindung 10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Textfeld 110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8" name="Gerade Verbindung 10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Textfeld 108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06" name="Gerade Verbindung 10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7" name="Textfeld 106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4" name="Gerade Verbindung 10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Textfeld 10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47" name="Gruppieren 46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3" name="Gruppieren 72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95" name="Gerade Verbindung 9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6" name="Textfeld 9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4" name="Gruppieren 73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3" name="Gerade Verbindung 9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feld 9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75" name="Gruppieren 74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6" name="Gruppieren 75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9" name="Gerade Verbindung 8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7" name="Gerade Verbindung 8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Textfeld 8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79" name="Gruppieren 78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3" name="Gerade Verbindung 8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feld 8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0" name="Gruppieren 79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48" name="Gruppieren 47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49" name="Gruppieren 48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50" name="Gruppieren 49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1" name="Gruppieren 5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7" name="Gerade Verbindung 6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feld 6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2" name="Gruppieren 51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5" name="Gerade Verbindung 6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Textfeld 6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3" name="Gruppieren 52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3" name="Gerade Verbindung 6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Textfeld 6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54" name="Gruppieren 53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61" name="Gerade Verbindung 6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feld 6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55" name="Gruppieren 54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9" name="Gerade Verbindung 5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0" name="Textfeld 5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56" name="Gruppieren 5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57" name="Gerade Verbindung 5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Textfeld 5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39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FEEBC62-D2D4-47F5-AFD8-DECB50D43BB8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40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1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2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51484" y="291603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3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51484" y="3734982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4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451484" y="4553929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  <p:sp>
        <p:nvSpPr>
          <p:cNvPr id="145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451484" y="5372875"/>
            <a:ext cx="10153141" cy="612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-11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all" spc="0" baseline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800" b="0" cap="none" spc="-110" baseline="0">
                <a:solidFill>
                  <a:schemeClr val="tx2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none" baseline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cap="all" baseline="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Topic 1</a:t>
            </a:r>
          </a:p>
          <a:p>
            <a:pPr lvl="1"/>
            <a:r>
              <a:rPr lang="en-US" noProof="0" dirty="0"/>
              <a:t>Conten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4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0B1B9D-5DAA-4171-A733-2FC45D043A30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10" name="ClipArt-Platzhalter 37"/>
          <p:cNvSpPr>
            <a:spLocks noGrp="1"/>
          </p:cNvSpPr>
          <p:nvPr>
            <p:ph type="clipArt" sz="quarter" idx="23" hasCustomPrompt="1"/>
          </p:nvPr>
        </p:nvSpPr>
        <p:spPr bwMode="gray">
          <a:xfrm rot="1500000" flipH="1">
            <a:off x="656349" y="3103273"/>
            <a:ext cx="45720" cy="100584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12471" y="3429000"/>
            <a:ext cx="10692154" cy="1403350"/>
          </a:xfrm>
        </p:spPr>
        <p:txBody>
          <a:bodyPr tIns="0" bIns="1512000" anchor="t">
            <a:noAutofit/>
          </a:bodyPr>
          <a:lstStyle>
            <a:lvl1pPr algn="l">
              <a:defRPr sz="6000" spc="-11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slides</a:t>
            </a:r>
            <a:br>
              <a:rPr lang="en-US" noProof="0" dirty="0"/>
            </a:br>
            <a:r>
              <a:rPr lang="en-US" noProof="0" dirty="0"/>
              <a:t>with two lines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07201" y="4958464"/>
            <a:ext cx="10692154" cy="1026411"/>
          </a:xfrm>
        </p:spPr>
        <p:txBody>
          <a:bodyPr tIns="0" anchor="t"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buNone/>
              <a:defRPr sz="1800" cap="all" baseline="0"/>
            </a:lvl2pPr>
            <a:lvl3pPr marL="0" indent="0" algn="l">
              <a:buNone/>
              <a:defRPr sz="1800" cap="all" baseline="0"/>
            </a:lvl3pPr>
            <a:lvl4pPr marL="0" indent="0" algn="l">
              <a:buNone/>
              <a:defRPr sz="1800" cap="all" baseline="0"/>
            </a:lvl4pPr>
            <a:lvl5pPr marL="0" indent="0" algn="l">
              <a:buNone/>
              <a:defRPr sz="1800" cap="all" baseline="0"/>
            </a:lvl5pPr>
            <a:lvl6pPr marL="0" indent="0" algn="l">
              <a:buNone/>
              <a:defRPr sz="1800" b="0" cap="all" baseline="0"/>
            </a:lvl6pPr>
            <a:lvl7pPr marL="0" indent="0" algn="l">
              <a:buNone/>
              <a:defRPr sz="1800" b="0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b="0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SUBLINE IF NEEDED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09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34624" y="6267578"/>
            <a:ext cx="770001" cy="172375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0" name="Gruppieren 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83" name="Gruppieren 82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2" name="Gerade Verbindung 10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Textfeld 10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00" name="Gerade Verbindung 9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1" name="Textfeld 10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85" name="Gruppieren 8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8" name="Gerade Verbindung 9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feld 9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86" name="Gruppieren 85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6" name="Gerade Verbindung 9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" name="Textfeld 9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88" name="Gruppieren 87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2" name="Gerade Verbindung 9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Textfeld 9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89" name="Gruppieren 88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90" name="Gerade Verbindung 89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1" name="Textfeld 90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1" name="Gruppieren 1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62" name="Gruppieren 6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81" name="Gerade Verbindung 8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feld 8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63" name="Gruppieren 6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64" name="Gruppieren 6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7" name="Gerade Verbindung 7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Textfeld 7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65" name="Gruppieren 6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66" name="Gruppieren 6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3" name="Gerade Verbindung 7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Textfeld 7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67" name="Gruppieren 6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71" name="Gerade Verbindung 7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Textfeld 7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68" name="Gruppieren 6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69" name="Gerade Verbindung 6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Textfeld 6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" name="Gruppieren 11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60" name="Gerade Verbindung 5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feld 60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39" name="Gruppieren 38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8" name="Gerade Verbindung 5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9" name="Textfeld 5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0" name="Gruppieren 39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6" name="Gerade Verbindung 5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Textfeld 5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1" name="Gruppieren 40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4" name="Gerade Verbindung 5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Textfeld 5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2" name="Gruppieren 41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2" name="Gerade Verbindung 5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Textfeld 5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43" name="Gruppieren 42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50" name="Gerade Verbindung 4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Textfeld 5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44" name="Gruppieren 43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48" name="Gerade Verbindung 4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feld 4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45" name="Gruppieren 44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46" name="Gerade Verbindung 4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feld 46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" name="Gruppieren 12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4" name="Gruppieren 13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36" name="Gerade Verbindung 3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feld 36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4" name="Gerade Verbindung 3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feld 3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" name="Gruppieren 15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2" name="Gerade Verbindung 3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Textfeld 3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7" name="Gruppieren 16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30" name="Gerade Verbindung 29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9" name="Gruppieren 18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6" name="Gerade Verbindung 25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Textfeld 26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20" name="Gruppieren 19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24" name="Gerade Verbindung 2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Textfeld 2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104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8112124" y="6919192"/>
            <a:ext cx="3492501" cy="21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C404EB2-3D02-471F-89A9-A63154B6F126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105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587374" y="6919192"/>
            <a:ext cx="7237414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6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375" y="728663"/>
            <a:ext cx="11017250" cy="5256212"/>
          </a:xfr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baseline="0">
                <a:solidFill>
                  <a:schemeClr val="bg1"/>
                </a:solidFill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6000" b="0" cap="all" spc="-110" baseline="0">
                <a:solidFill>
                  <a:schemeClr val="tx2"/>
                </a:solidFill>
                <a:latin typeface="+mj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6000" b="0" cap="all" spc="-110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1"/>
            <a:r>
              <a:rPr lang="en-US" noProof="0" dirty="0"/>
              <a:t>Use This</a:t>
            </a:r>
          </a:p>
          <a:p>
            <a:pPr lvl="0"/>
            <a:r>
              <a:rPr lang="en-US" noProof="0" dirty="0"/>
              <a:t>layout</a:t>
            </a:r>
          </a:p>
          <a:p>
            <a:pPr lvl="2"/>
            <a:r>
              <a:rPr lang="en-US" noProof="0" dirty="0"/>
              <a:t>for</a:t>
            </a:r>
          </a:p>
          <a:p>
            <a:pPr lvl="0"/>
            <a:r>
              <a:rPr lang="en-US" noProof="0" dirty="0"/>
              <a:t>Key</a:t>
            </a:r>
          </a:p>
          <a:p>
            <a:pPr lvl="8"/>
            <a:r>
              <a:rPr lang="en-US" noProof="0" dirty="0"/>
              <a:t>messag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36.xml"/><Relationship Id="rId21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5.xml"/><Relationship Id="rId20" Type="http://schemas.openxmlformats.org/officeDocument/2006/relationships/vmlDrawing" Target="../drawings/vmlDrawing1.vml"/><Relationship Id="rId21" Type="http://schemas.openxmlformats.org/officeDocument/2006/relationships/tags" Target="../tags/tag3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8.emf"/><Relationship Id="rId10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4.xml"/><Relationship Id="rId19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3.xml"/><Relationship Id="rId20" Type="http://schemas.openxmlformats.org/officeDocument/2006/relationships/vmlDrawing" Target="../drawings/vmlDrawing14.vml"/><Relationship Id="rId21" Type="http://schemas.openxmlformats.org/officeDocument/2006/relationships/tags" Target="../tags/tag17.xml"/><Relationship Id="rId22" Type="http://schemas.openxmlformats.org/officeDocument/2006/relationships/oleObject" Target="../embeddings/oleObject14.bin"/><Relationship Id="rId23" Type="http://schemas.openxmlformats.org/officeDocument/2006/relationships/image" Target="../media/image8.emf"/><Relationship Id="rId10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2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1.xml"/><Relationship Id="rId8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94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7.xml"/><Relationship Id="rId6" Type="http://schemas.openxmlformats.org/officeDocument/2006/relationships/slideLayout" Target="../slideLayouts/slideLayout78.xml"/><Relationship Id="rId7" Type="http://schemas.openxmlformats.org/officeDocument/2006/relationships/slideLayout" Target="../slideLayouts/slideLayout79.xml"/><Relationship Id="rId8" Type="http://schemas.openxmlformats.org/officeDocument/2006/relationships/slideLayout" Target="../slideLayouts/slideLayout80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16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3.xml"/><Relationship Id="rId18" Type="http://schemas.openxmlformats.org/officeDocument/2006/relationships/theme" Target="../theme/theme7.xml"/><Relationship Id="rId1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26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2.xml"/><Relationship Id="rId20" Type="http://schemas.openxmlformats.org/officeDocument/2006/relationships/vmlDrawing" Target="../drawings/vmlDrawing27.vml"/><Relationship Id="rId21" Type="http://schemas.openxmlformats.org/officeDocument/2006/relationships/tags" Target="../tags/tag34.xml"/><Relationship Id="rId22" Type="http://schemas.openxmlformats.org/officeDocument/2006/relationships/oleObject" Target="../embeddings/oleObject27.bin"/><Relationship Id="rId23" Type="http://schemas.openxmlformats.org/officeDocument/2006/relationships/image" Target="../media/image8.emf"/><Relationship Id="rId10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1.xml"/><Relationship Id="rId19" Type="http://schemas.openxmlformats.org/officeDocument/2006/relationships/theme" Target="../theme/theme8.xml"/><Relationship Id="rId1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41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76.xml"/><Relationship Id="rId26" Type="http://schemas.openxmlformats.org/officeDocument/2006/relationships/theme" Target="../theme/theme9.xml"/><Relationship Id="rId10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5.xml"/><Relationship Id="rId15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87375" y="1881188"/>
            <a:ext cx="11014322" cy="4103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112124" y="6925977"/>
            <a:ext cx="3492501" cy="25917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8BD500C1-41B6-4AB1-A786-4F006FA4744D}" type="datetime1">
              <a:rPr lang="de-DE" noProof="0" smtClean="0"/>
              <a:t>09.11.17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vert="horz" lIns="0" tIns="7200" rIns="0" bIns="0" rtlCol="0" anchor="b"/>
          <a:lstStyle>
            <a:lvl1pPr algn="r">
              <a:defRPr sz="800">
                <a:solidFill>
                  <a:schemeClr val="bg2"/>
                </a:solidFill>
                <a:latin typeface="+mj-lt"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5" name="Gruppieren 124"/>
          <p:cNvGrpSpPr/>
          <p:nvPr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30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16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4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31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99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2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90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93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9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00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23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9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5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6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7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8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cxnSp>
        <p:nvCxnSpPr>
          <p:cNvPr id="128" name="Gerade Verbindung 125"/>
          <p:cNvCxnSpPr/>
          <p:nvPr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85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876" r:id="rId3"/>
    <p:sldLayoutId id="2147483673" r:id="rId4"/>
    <p:sldLayoutId id="2147483708" r:id="rId5"/>
    <p:sldLayoutId id="2147483676" r:id="rId6"/>
    <p:sldLayoutId id="2147483713" r:id="rId7"/>
    <p:sldLayoutId id="2147483712" r:id="rId8"/>
    <p:sldLayoutId id="2147483715" r:id="rId9"/>
    <p:sldLayoutId id="2147483711" r:id="rId10"/>
    <p:sldLayoutId id="2147483714" r:id="rId11"/>
    <p:sldLayoutId id="2147483683" r:id="rId12"/>
    <p:sldLayoutId id="2147483738" r:id="rId13"/>
    <p:sldLayoutId id="2147483684" r:id="rId14"/>
    <p:sldLayoutId id="2147483904" r:id="rId15"/>
    <p:sldLayoutId id="2147483905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spc="-11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61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+mj-lt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uppieren 124"/>
          <p:cNvGrpSpPr/>
          <p:nvPr userDrawn="1"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127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20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0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1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20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18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9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203" name="Gruppieren 14"/>
              <p:cNvGrpSpPr/>
              <p:nvPr userDrawn="1"/>
            </p:nvGrpSpPr>
            <p:grpSpPr bwMode="gray">
              <a:xfrm>
                <a:off x="-204716" y="1774128"/>
                <a:ext cx="144000" cy="106874"/>
                <a:chOff x="-204716" y="400879"/>
                <a:chExt cx="144000" cy="106874"/>
              </a:xfrm>
            </p:grpSpPr>
            <p:cxnSp>
              <p:nvCxnSpPr>
                <p:cNvPr id="216" name="Gerade Verbindung 15"/>
                <p:cNvCxnSpPr/>
                <p:nvPr userDrawn="1"/>
              </p:nvCxnSpPr>
              <p:spPr bwMode="gray">
                <a:xfrm>
                  <a:off x="-204716" y="50775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7" name="Textfeld 16"/>
                <p:cNvSpPr txBox="1"/>
                <p:nvPr userDrawn="1"/>
              </p:nvSpPr>
              <p:spPr bwMode="gray">
                <a:xfrm>
                  <a:off x="-204716" y="40087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204" name="Gruppieren 17"/>
              <p:cNvGrpSpPr/>
              <p:nvPr userDrawn="1"/>
            </p:nvGrpSpPr>
            <p:grpSpPr bwMode="gray">
              <a:xfrm>
                <a:off x="-204716" y="3682303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14" name="Gerade Verbindung 18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5" name="Textfeld 19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205" name="Gruppieren 20"/>
              <p:cNvGrpSpPr/>
              <p:nvPr userDrawn="1"/>
            </p:nvGrpSpPr>
            <p:grpSpPr bwMode="gray">
              <a:xfrm>
                <a:off x="-204716" y="3969640"/>
                <a:ext cx="144000" cy="106874"/>
                <a:chOff x="-204716" y="508829"/>
                <a:chExt cx="144000" cy="106874"/>
              </a:xfrm>
            </p:grpSpPr>
            <p:cxnSp>
              <p:nvCxnSpPr>
                <p:cNvPr id="212" name="Gerade Verbindung 21"/>
                <p:cNvCxnSpPr/>
                <p:nvPr userDrawn="1"/>
              </p:nvCxnSpPr>
              <p:spPr bwMode="gray">
                <a:xfrm>
                  <a:off x="-204716" y="615703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3" name="Textfeld 22"/>
                <p:cNvSpPr txBox="1"/>
                <p:nvPr userDrawn="1"/>
              </p:nvSpPr>
              <p:spPr bwMode="gray">
                <a:xfrm>
                  <a:off x="-204716" y="508829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206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10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1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0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0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29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180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99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81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97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8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82" name="Gruppieren 33"/>
              <p:cNvGrpSpPr/>
              <p:nvPr userDrawn="1"/>
            </p:nvGrpSpPr>
            <p:grpSpPr bwMode="gray">
              <a:xfrm>
                <a:off x="-204716" y="1774314"/>
                <a:ext cx="108000" cy="106874"/>
                <a:chOff x="-204716" y="401065"/>
                <a:chExt cx="108000" cy="106874"/>
              </a:xfrm>
            </p:grpSpPr>
            <p:cxnSp>
              <p:nvCxnSpPr>
                <p:cNvPr id="195" name="Gerade Verbindung 46"/>
                <p:cNvCxnSpPr/>
                <p:nvPr userDrawn="1"/>
              </p:nvCxnSpPr>
              <p:spPr bwMode="gray">
                <a:xfrm>
                  <a:off x="-204716" y="5079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Textfeld 47"/>
                <p:cNvSpPr txBox="1"/>
                <p:nvPr userDrawn="1"/>
              </p:nvSpPr>
              <p:spPr bwMode="gray">
                <a:xfrm>
                  <a:off x="-204716" y="4010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3</a:t>
                  </a:r>
                </a:p>
              </p:txBody>
            </p:sp>
          </p:grpSp>
          <p:grpSp>
            <p:nvGrpSpPr>
              <p:cNvPr id="183" name="Gruppieren 34"/>
              <p:cNvGrpSpPr/>
              <p:nvPr userDrawn="1"/>
            </p:nvGrpSpPr>
            <p:grpSpPr bwMode="gray">
              <a:xfrm>
                <a:off x="-204716" y="3682489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93" name="Gerade Verbindung 44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4" name="Textfeld 45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0</a:t>
                  </a:r>
                </a:p>
              </p:txBody>
            </p:sp>
          </p:grpSp>
          <p:grpSp>
            <p:nvGrpSpPr>
              <p:cNvPr id="184" name="Gruppieren 35"/>
              <p:cNvGrpSpPr/>
              <p:nvPr userDrawn="1"/>
            </p:nvGrpSpPr>
            <p:grpSpPr bwMode="gray">
              <a:xfrm>
                <a:off x="-204716" y="3969826"/>
                <a:ext cx="108000" cy="106874"/>
                <a:chOff x="-204716" y="509015"/>
                <a:chExt cx="108000" cy="106874"/>
              </a:xfrm>
            </p:grpSpPr>
            <p:cxnSp>
              <p:nvCxnSpPr>
                <p:cNvPr id="191" name="Gerade Verbindung 42"/>
                <p:cNvCxnSpPr/>
                <p:nvPr userDrawn="1"/>
              </p:nvCxnSpPr>
              <p:spPr bwMode="gray">
                <a:xfrm>
                  <a:off x="-204716" y="61588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2" name="Textfeld 43"/>
                <p:cNvSpPr txBox="1"/>
                <p:nvPr userDrawn="1"/>
              </p:nvSpPr>
              <p:spPr bwMode="gray">
                <a:xfrm>
                  <a:off x="-204716" y="50901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,8</a:t>
                  </a:r>
                </a:p>
              </p:txBody>
            </p:sp>
          </p:grpSp>
          <p:grpSp>
            <p:nvGrpSpPr>
              <p:cNvPr id="185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189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0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186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87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8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130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156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78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9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57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6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58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4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5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59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2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3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0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70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1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61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8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9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62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66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7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63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64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5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31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32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54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5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33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2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4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50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5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8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9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36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6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7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37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4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38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42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3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39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40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1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noProof="0" dirty="0">
                      <a:solidFill>
                        <a:schemeClr val="bg1">
                          <a:lumMod val="50000"/>
                        </a:schemeClr>
                      </a:solidFill>
                    </a:rPr>
                    <a:t>15,3</a:t>
                  </a:r>
                </a:p>
              </p:txBody>
            </p:sp>
          </p:grp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87375" y="2097275"/>
            <a:ext cx="11014322" cy="388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8112124" y="6919192"/>
            <a:ext cx="3492501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F9FA816-06CB-4A80-A0D0-64C0BA6E1EA2}" type="datetime1">
              <a:rPr lang="de-DE" smtClean="0"/>
              <a:pPr/>
              <a:t>09.11.17</a:t>
            </a:fld>
            <a:endParaRPr lang="en-US" dirty="0"/>
          </a:p>
        </p:txBody>
      </p:sp>
      <p:sp>
        <p:nvSpPr>
          <p:cNvPr id="22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11604625" y="6919192"/>
            <a:ext cx="393128" cy="216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620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3" r:id="rId6"/>
    <p:sldLayoutId id="2147483729" r:id="rId7"/>
    <p:sldLayoutId id="2147483725" r:id="rId8"/>
    <p:sldLayoutId id="2147483722" r:id="rId9"/>
    <p:sldLayoutId id="2147483730" r:id="rId10"/>
    <p:sldLayoutId id="2147483731" r:id="rId11"/>
    <p:sldLayoutId id="2147483736" r:id="rId12"/>
    <p:sldLayoutId id="2147483737" r:id="rId13"/>
    <p:sldLayoutId id="2147483735" r:id="rId14"/>
    <p:sldLayoutId id="2147483732" r:id="rId15"/>
    <p:sldLayoutId id="2147483739" r:id="rId16"/>
    <p:sldLayoutId id="2147483726" r:id="rId17"/>
    <p:sldLayoutId id="2147483733" r:id="rId18"/>
    <p:sldLayoutId id="2147483734" r:id="rId19"/>
    <p:sldLayoutId id="2147483728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spc="-11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61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+mj-lt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1077" y="579689"/>
            <a:ext cx="10224000" cy="7386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1077" y="1460501"/>
            <a:ext cx="10224000" cy="4473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42637" y="6293153"/>
            <a:ext cx="296984" cy="41024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>
              <a:defRPr sz="1333" b="0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19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spc="-53" baseline="0">
          <a:solidFill>
            <a:schemeClr val="accent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2859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37252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51645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66038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0431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94824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09217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236102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408">
          <p15:clr>
            <a:srgbClr val="F26B43"/>
          </p15:clr>
        </p15:guide>
        <p15:guide id="3" pos="5239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5">
          <p15:clr>
            <a:srgbClr val="F26B43"/>
          </p15:clr>
        </p15:guide>
        <p15:guide id="6" orient="horz" pos="690">
          <p15:clr>
            <a:srgbClr val="F26B43"/>
          </p15:clr>
        </p15:guide>
        <p15:guide id="7" orient="horz" pos="28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1077" y="579689"/>
            <a:ext cx="10224000" cy="7386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1077" y="1460501"/>
            <a:ext cx="10224000" cy="4473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42637" y="6293153"/>
            <a:ext cx="296984" cy="41024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>
              <a:defRPr sz="1333" b="0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6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spc="-53" baseline="0">
          <a:solidFill>
            <a:schemeClr val="accent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2859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37252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51645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66038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0431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94824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09217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236102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408">
          <p15:clr>
            <a:srgbClr val="F26B43"/>
          </p15:clr>
        </p15:guide>
        <p15:guide id="3" pos="5239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5">
          <p15:clr>
            <a:srgbClr val="F26B43"/>
          </p15:clr>
        </p15:guide>
        <p15:guide id="6" orient="horz" pos="690">
          <p15:clr>
            <a:srgbClr val="F26B43"/>
          </p15:clr>
        </p15:guide>
        <p15:guide id="7" orient="horz" pos="28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87375" y="2097275"/>
            <a:ext cx="11014322" cy="388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112124" y="6925977"/>
            <a:ext cx="3492501" cy="25917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8BD500C1-41B6-4AB1-A786-4F006FA4744D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vert="horz" lIns="0" tIns="7200" rIns="0" bIns="0" rtlCol="0" anchor="b"/>
          <a:lstStyle>
            <a:lvl1pPr algn="r">
              <a:defRPr sz="800">
                <a:solidFill>
                  <a:schemeClr val="bg2"/>
                </a:solidFill>
                <a:latin typeface="+mj-lt"/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grpSp>
        <p:nvGrpSpPr>
          <p:cNvPr id="125" name="Gruppieren 124"/>
          <p:cNvGrpSpPr/>
          <p:nvPr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30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" name="Gerade Verbindung 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Textfeld 1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24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31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99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2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90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93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9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00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23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9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5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6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7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8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cxnSp>
        <p:nvCxnSpPr>
          <p:cNvPr id="128" name="Gerade Verbindung 125"/>
          <p:cNvCxnSpPr/>
          <p:nvPr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779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spc="-11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61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+mj-lt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87375" y="2097275"/>
            <a:ext cx="11014322" cy="388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112124" y="6925977"/>
            <a:ext cx="3492501" cy="25917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8BD500C1-41B6-4AB1-A786-4F006FA4744D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vert="horz" lIns="0" tIns="7200" rIns="0" bIns="0" rtlCol="0" anchor="b"/>
          <a:lstStyle>
            <a:lvl1pPr algn="r">
              <a:defRPr sz="800">
                <a:solidFill>
                  <a:schemeClr val="bg2"/>
                </a:solidFill>
                <a:latin typeface="+mj-lt"/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grpSp>
        <p:nvGrpSpPr>
          <p:cNvPr id="125" name="Gruppieren 124"/>
          <p:cNvGrpSpPr/>
          <p:nvPr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30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" name="Gerade Verbindung 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Textfeld 1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24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31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99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2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90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93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9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00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23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9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5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6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7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8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cxnSp>
        <p:nvCxnSpPr>
          <p:cNvPr id="128" name="Gerade Verbindung 125"/>
          <p:cNvCxnSpPr/>
          <p:nvPr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243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90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spc="-11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61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+mj-lt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87375" y="728663"/>
            <a:ext cx="11014322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87375" y="2097275"/>
            <a:ext cx="11014322" cy="388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112124" y="6925977"/>
            <a:ext cx="3492501" cy="25917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8BD500C1-41B6-4AB1-A786-4F006FA4744D}" type="datetime1">
              <a:rPr lang="de-DE" smtClean="0">
                <a:solidFill>
                  <a:srgbClr val="009DD7">
                    <a:alpha val="0"/>
                  </a:srgbClr>
                </a:solidFill>
              </a:rPr>
              <a:pPr/>
              <a:t>09.11.17</a:t>
            </a:fld>
            <a:endParaRPr lang="en-US" dirty="0">
              <a:solidFill>
                <a:srgbClr val="009DD7">
                  <a:alpha val="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208568" y="6273800"/>
            <a:ext cx="393128" cy="358962"/>
          </a:xfrm>
          <a:prstGeom prst="rect">
            <a:avLst/>
          </a:prstGeom>
        </p:spPr>
        <p:txBody>
          <a:bodyPr vert="horz" lIns="0" tIns="7200" rIns="0" bIns="0" rtlCol="0" anchor="b"/>
          <a:lstStyle>
            <a:lvl1pPr algn="r">
              <a:defRPr sz="800">
                <a:solidFill>
                  <a:schemeClr val="bg2"/>
                </a:solidFill>
                <a:latin typeface="+mj-lt"/>
              </a:defRPr>
            </a:lvl1pPr>
          </a:lstStyle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‹#›</a:t>
            </a:fld>
            <a:endParaRPr lang="en-US" dirty="0">
              <a:solidFill>
                <a:srgbClr val="0A2737"/>
              </a:solidFill>
            </a:endParaRPr>
          </a:p>
        </p:txBody>
      </p:sp>
      <p:grpSp>
        <p:nvGrpSpPr>
          <p:cNvPr id="125" name="Gruppieren 124"/>
          <p:cNvGrpSpPr/>
          <p:nvPr/>
        </p:nvGrpSpPr>
        <p:grpSpPr bwMode="gray">
          <a:xfrm>
            <a:off x="-168680" y="-143270"/>
            <a:ext cx="12529360" cy="7129523"/>
            <a:chOff x="-168680" y="-143270"/>
            <a:chExt cx="12529360" cy="7129523"/>
          </a:xfrm>
        </p:grpSpPr>
        <p:grpSp>
          <p:nvGrpSpPr>
            <p:cNvPr id="30" name="Gruppieren 29"/>
            <p:cNvGrpSpPr/>
            <p:nvPr userDrawn="1"/>
          </p:nvGrpSpPr>
          <p:grpSpPr bwMode="gray">
            <a:xfrm>
              <a:off x="-168680" y="617151"/>
              <a:ext cx="144000" cy="5656835"/>
              <a:chOff x="-204716" y="616965"/>
              <a:chExt cx="144000" cy="5656835"/>
            </a:xfrm>
          </p:grpSpPr>
          <p:grpSp>
            <p:nvGrpSpPr>
              <p:cNvPr id="11" name="Gruppieren 10"/>
              <p:cNvGrpSpPr/>
              <p:nvPr userDrawn="1"/>
            </p:nvGrpSpPr>
            <p:grpSpPr bwMode="gray">
              <a:xfrm>
                <a:off x="-204716" y="616965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8" name="Gerade Verbindung 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Textfeld 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12" name="Gruppieren 11"/>
              <p:cNvGrpSpPr/>
              <p:nvPr userDrawn="1"/>
            </p:nvGrpSpPr>
            <p:grpSpPr bwMode="gray">
              <a:xfrm>
                <a:off x="-204716" y="13425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3" name="Gerade Verbindung 1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feld 13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15" name="Gruppieren 14"/>
              <p:cNvGrpSpPr/>
              <p:nvPr userDrawn="1"/>
            </p:nvGrpSpPr>
            <p:grpSpPr bwMode="gray">
              <a:xfrm>
                <a:off x="-204716" y="1990214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6" name="Gerade Verbindung 15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Textfeld 16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18" name="Gruppieren 17"/>
              <p:cNvGrpSpPr/>
              <p:nvPr userDrawn="1"/>
            </p:nvGrpSpPr>
            <p:grpSpPr bwMode="gray">
              <a:xfrm>
                <a:off x="-204716" y="3790439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19" name="Gerade Verbindung 1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feld 1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21" name="Gruppieren 20"/>
              <p:cNvGrpSpPr/>
              <p:nvPr userDrawn="1"/>
            </p:nvGrpSpPr>
            <p:grpSpPr bwMode="gray">
              <a:xfrm>
                <a:off x="-204716" y="407777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2" name="Gerade Verbindung 21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feld 22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24" name="Gruppieren 23"/>
              <p:cNvGrpSpPr/>
              <p:nvPr userDrawn="1"/>
            </p:nvGrpSpPr>
            <p:grpSpPr bwMode="gray">
              <a:xfrm>
                <a:off x="-204716" y="5878001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5" name="Gerade Verbindung 2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feld 25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27" name="Gruppieren 26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feld 28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31" name="Gruppieren 30"/>
            <p:cNvGrpSpPr/>
            <p:nvPr userDrawn="1"/>
          </p:nvGrpSpPr>
          <p:grpSpPr bwMode="gray">
            <a:xfrm>
              <a:off x="12216680" y="616965"/>
              <a:ext cx="144000" cy="5656835"/>
              <a:chOff x="-204716" y="616965"/>
              <a:chExt cx="144000" cy="5656835"/>
            </a:xfrm>
          </p:grpSpPr>
          <p:grpSp>
            <p:nvGrpSpPr>
              <p:cNvPr id="32" name="Gruppieren 31"/>
              <p:cNvGrpSpPr/>
              <p:nvPr userDrawn="1"/>
            </p:nvGrpSpPr>
            <p:grpSpPr bwMode="gray">
              <a:xfrm>
                <a:off x="-204716" y="616965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51" name="Gerade Verbindung 5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5</a:t>
                  </a:r>
                </a:p>
              </p:txBody>
            </p:sp>
          </p:grpSp>
          <p:grpSp>
            <p:nvGrpSpPr>
              <p:cNvPr id="33" name="Gruppieren 32"/>
              <p:cNvGrpSpPr/>
              <p:nvPr userDrawn="1"/>
            </p:nvGrpSpPr>
            <p:grpSpPr bwMode="gray">
              <a:xfrm>
                <a:off x="-204716" y="13425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9" name="Gerade Verbindung 4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Textfeld 49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5</a:t>
                  </a:r>
                </a:p>
              </p:txBody>
            </p:sp>
          </p:grpSp>
          <p:grpSp>
            <p:nvGrpSpPr>
              <p:cNvPr id="34" name="Gruppieren 33"/>
              <p:cNvGrpSpPr/>
              <p:nvPr userDrawn="1"/>
            </p:nvGrpSpPr>
            <p:grpSpPr bwMode="gray">
              <a:xfrm>
                <a:off x="-204716" y="1990214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7" name="Gerade Verbindung 46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Textfeld 47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3,7</a:t>
                  </a:r>
                </a:p>
              </p:txBody>
            </p:sp>
          </p:grpSp>
          <p:grpSp>
            <p:nvGrpSpPr>
              <p:cNvPr id="35" name="Gruppieren 34"/>
              <p:cNvGrpSpPr/>
              <p:nvPr userDrawn="1"/>
            </p:nvGrpSpPr>
            <p:grpSpPr bwMode="gray">
              <a:xfrm>
                <a:off x="-204716" y="3790439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5" name="Gerade Verbindung 44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feld 45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,3</a:t>
                  </a:r>
                </a:p>
              </p:txBody>
            </p:sp>
          </p:grpSp>
          <p:grpSp>
            <p:nvGrpSpPr>
              <p:cNvPr id="36" name="Gruppieren 35"/>
              <p:cNvGrpSpPr/>
              <p:nvPr userDrawn="1"/>
            </p:nvGrpSpPr>
            <p:grpSpPr bwMode="gray">
              <a:xfrm>
                <a:off x="-204716" y="4077776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3" name="Gerade Verbindung 42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feld 43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2,1</a:t>
                  </a:r>
                </a:p>
              </p:txBody>
            </p:sp>
          </p:grpSp>
          <p:grpSp>
            <p:nvGrpSpPr>
              <p:cNvPr id="37" name="Gruppieren 36"/>
              <p:cNvGrpSpPr/>
              <p:nvPr userDrawn="1"/>
            </p:nvGrpSpPr>
            <p:grpSpPr bwMode="gray">
              <a:xfrm>
                <a:off x="-204716" y="5878001"/>
                <a:ext cx="108000" cy="106874"/>
                <a:chOff x="-204716" y="616965"/>
                <a:chExt cx="108000" cy="106874"/>
              </a:xfrm>
            </p:grpSpPr>
            <p:cxnSp>
              <p:nvCxnSpPr>
                <p:cNvPr id="41" name="Gerade Verbindung 40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 userDrawn="1"/>
              </p:nvSpPr>
              <p:spPr bwMode="gray">
                <a:xfrm>
                  <a:off x="-204716" y="616965"/>
                  <a:ext cx="108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1</a:t>
                  </a:r>
                </a:p>
              </p:txBody>
            </p:sp>
          </p:grpSp>
          <p:grpSp>
            <p:nvGrpSpPr>
              <p:cNvPr id="38" name="Gruppieren 37"/>
              <p:cNvGrpSpPr/>
              <p:nvPr userDrawn="1"/>
            </p:nvGrpSpPr>
            <p:grpSpPr bwMode="gray">
              <a:xfrm>
                <a:off x="-204716" y="6166926"/>
                <a:ext cx="144000" cy="106874"/>
                <a:chOff x="-204716" y="616965"/>
                <a:chExt cx="144000" cy="106874"/>
              </a:xfrm>
            </p:grpSpPr>
            <p:cxnSp>
              <p:nvCxnSpPr>
                <p:cNvPr id="39" name="Gerade Verbindung 38"/>
                <p:cNvCxnSpPr/>
                <p:nvPr userDrawn="1"/>
              </p:nvCxnSpPr>
              <p:spPr bwMode="gray">
                <a:xfrm>
                  <a:off x="-204716" y="723839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feld 39"/>
                <p:cNvSpPr txBox="1"/>
                <p:nvPr userDrawn="1"/>
              </p:nvSpPr>
              <p:spPr bwMode="gray">
                <a:xfrm>
                  <a:off x="-204716" y="616965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7,9</a:t>
                  </a:r>
                </a:p>
              </p:txBody>
            </p:sp>
          </p:grpSp>
        </p:grpSp>
        <p:grpSp>
          <p:nvGrpSpPr>
            <p:cNvPr id="99" name="Gruppieren 98"/>
            <p:cNvGrpSpPr/>
            <p:nvPr userDrawn="1"/>
          </p:nvGrpSpPr>
          <p:grpSpPr bwMode="gray">
            <a:xfrm>
              <a:off x="587375" y="-143270"/>
              <a:ext cx="11269265" cy="124694"/>
              <a:chOff x="587375" y="-159940"/>
              <a:chExt cx="11269265" cy="124694"/>
            </a:xfrm>
          </p:grpSpPr>
          <p:grpSp>
            <p:nvGrpSpPr>
              <p:cNvPr id="77" name="Gruppieren 76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75" name="Gerade Verbindung 7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Textfeld 75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78" name="Gruppieren 77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79" name="Gerade Verbindung 7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Textfeld 7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81" name="Gruppieren 80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2" name="Gerade Verbindung 81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feld 82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84" name="Gruppieren 8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5" name="Gerade Verbindung 8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feld 8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87" name="Gruppieren 86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88" name="Gerade Verbindung 87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9" name="Textfeld 88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90" name="Gruppieren 89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1" name="Gerade Verbindung 9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93" name="Gruppieren 92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94" name="Gerade Verbindung 93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96" name="Gruppieren 95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97" name="Gerade Verbindung 9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8" name="Textfeld 97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  <p:grpSp>
          <p:nvGrpSpPr>
            <p:cNvPr id="100" name="Gruppieren 99"/>
            <p:cNvGrpSpPr/>
            <p:nvPr userDrawn="1"/>
          </p:nvGrpSpPr>
          <p:grpSpPr bwMode="gray">
            <a:xfrm>
              <a:off x="587375" y="6861559"/>
              <a:ext cx="11269265" cy="124694"/>
              <a:chOff x="587375" y="-159940"/>
              <a:chExt cx="11269265" cy="124694"/>
            </a:xfrm>
          </p:grpSpPr>
          <p:grpSp>
            <p:nvGrpSpPr>
              <p:cNvPr id="101" name="Gruppieren 100"/>
              <p:cNvGrpSpPr/>
              <p:nvPr userDrawn="1"/>
            </p:nvGrpSpPr>
            <p:grpSpPr bwMode="gray">
              <a:xfrm>
                <a:off x="587375" y="-159940"/>
                <a:ext cx="250825" cy="124694"/>
                <a:chOff x="587375" y="-159940"/>
                <a:chExt cx="250825" cy="124694"/>
              </a:xfrm>
            </p:grpSpPr>
            <p:cxnSp>
              <p:nvCxnSpPr>
                <p:cNvPr id="123" name="Gerade Verbindung 12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4" name="Textfeld 123"/>
                <p:cNvSpPr txBox="1"/>
                <p:nvPr userDrawn="1"/>
              </p:nvSpPr>
              <p:spPr bwMode="gray">
                <a:xfrm>
                  <a:off x="613986" y="-159940"/>
                  <a:ext cx="224214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  <p:grpSp>
            <p:nvGrpSpPr>
              <p:cNvPr id="102" name="Gruppieren 101"/>
              <p:cNvGrpSpPr/>
              <p:nvPr userDrawn="1"/>
            </p:nvGrpSpPr>
            <p:grpSpPr bwMode="gray">
              <a:xfrm>
                <a:off x="407987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21" name="Gerade Verbindung 12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Textfeld 12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3" name="Gruppieren 102"/>
              <p:cNvGrpSpPr/>
              <p:nvPr userDrawn="1"/>
            </p:nvGrpSpPr>
            <p:grpSpPr bwMode="gray">
              <a:xfrm>
                <a:off x="4367213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9" name="Gerade Verbindung 11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feld 119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4" name="Gruppieren 103"/>
              <p:cNvGrpSpPr/>
              <p:nvPr userDrawn="1"/>
            </p:nvGrpSpPr>
            <p:grpSpPr bwMode="gray">
              <a:xfrm>
                <a:off x="595153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7" name="Gerade Verbindung 116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feld 117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5" name="Gruppieren 104"/>
              <p:cNvGrpSpPr/>
              <p:nvPr userDrawn="1"/>
            </p:nvGrpSpPr>
            <p:grpSpPr bwMode="gray">
              <a:xfrm>
                <a:off x="6238876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5" name="Gerade Verbindung 114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feld 115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0,4</a:t>
                  </a:r>
                </a:p>
              </p:txBody>
            </p:sp>
          </p:grpSp>
          <p:grpSp>
            <p:nvGrpSpPr>
              <p:cNvPr id="106" name="Gruppieren 105"/>
              <p:cNvGrpSpPr/>
              <p:nvPr userDrawn="1"/>
            </p:nvGrpSpPr>
            <p:grpSpPr bwMode="gray">
              <a:xfrm>
                <a:off x="7824788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3" name="Gerade Verbindung 112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Textfeld 113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4,8</a:t>
                  </a:r>
                </a:p>
              </p:txBody>
            </p:sp>
          </p:grpSp>
          <p:grpSp>
            <p:nvGrpSpPr>
              <p:cNvPr id="107" name="Gruppieren 106"/>
              <p:cNvGrpSpPr/>
              <p:nvPr userDrawn="1"/>
            </p:nvGrpSpPr>
            <p:grpSpPr bwMode="gray">
              <a:xfrm>
                <a:off x="8112125" y="-159940"/>
                <a:ext cx="170611" cy="124694"/>
                <a:chOff x="587375" y="-159940"/>
                <a:chExt cx="170611" cy="124694"/>
              </a:xfrm>
            </p:grpSpPr>
            <p:cxnSp>
              <p:nvCxnSpPr>
                <p:cNvPr id="111" name="Gerade Verbindung 110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2" name="Textfeld 111"/>
                <p:cNvSpPr txBox="1"/>
                <p:nvPr userDrawn="1"/>
              </p:nvSpPr>
              <p:spPr bwMode="gray">
                <a:xfrm>
                  <a:off x="613986" y="-159940"/>
                  <a:ext cx="144000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5,6</a:t>
                  </a:r>
                </a:p>
              </p:txBody>
            </p:sp>
          </p:grpSp>
          <p:grpSp>
            <p:nvGrpSpPr>
              <p:cNvPr id="108" name="Gruppieren 107"/>
              <p:cNvGrpSpPr/>
              <p:nvPr userDrawn="1"/>
            </p:nvGrpSpPr>
            <p:grpSpPr bwMode="gray">
              <a:xfrm>
                <a:off x="11601697" y="-159940"/>
                <a:ext cx="254943" cy="124694"/>
                <a:chOff x="587375" y="-159940"/>
                <a:chExt cx="254943" cy="124694"/>
              </a:xfrm>
            </p:grpSpPr>
            <p:cxnSp>
              <p:nvCxnSpPr>
                <p:cNvPr id="109" name="Gerade Verbindung 108"/>
                <p:cNvCxnSpPr/>
                <p:nvPr userDrawn="1"/>
              </p:nvCxnSpPr>
              <p:spPr bwMode="gray">
                <a:xfrm rot="5400000">
                  <a:off x="533375" y="-89246"/>
                  <a:ext cx="108000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0" name="Textfeld 109"/>
                <p:cNvSpPr txBox="1"/>
                <p:nvPr userDrawn="1"/>
              </p:nvSpPr>
              <p:spPr bwMode="gray">
                <a:xfrm>
                  <a:off x="613986" y="-159940"/>
                  <a:ext cx="228332" cy="106874"/>
                </a:xfrm>
                <a:prstGeom prst="rect">
                  <a:avLst/>
                </a:prstGeom>
                <a:noFill/>
              </p:spPr>
              <p:txBody>
                <a:bodyPr wrap="square" lIns="0" tIns="7200" rIns="0" bIns="7200" rtlCol="0" anchor="b">
                  <a:spAutoFit/>
                </a:bodyPr>
                <a:lstStyle/>
                <a:p>
                  <a:r>
                    <a:rPr lang="en-US" sz="600" dirty="0">
                      <a:solidFill>
                        <a:srgbClr val="FFFFFF">
                          <a:lumMod val="50000"/>
                        </a:srgbClr>
                      </a:solidFill>
                    </a:rPr>
                    <a:t>15,3</a:t>
                  </a:r>
                </a:p>
              </p:txBody>
            </p:sp>
          </p:grpSp>
        </p:grpSp>
      </p:grpSp>
      <p:cxnSp>
        <p:nvCxnSpPr>
          <p:cNvPr id="128" name="Gerade Verbindung 125"/>
          <p:cNvCxnSpPr/>
          <p:nvPr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3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spc="-11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61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88000" indent="-288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+mj-lt"/>
        <a:buAutoNum type="arabicPeriod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+mj-lt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0" baseline="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1077" y="579689"/>
            <a:ext cx="10224000" cy="7386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1077" y="1460501"/>
            <a:ext cx="10224000" cy="4473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42637" y="6293153"/>
            <a:ext cx="296984" cy="41024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>
              <a:defRPr sz="1333" b="0">
                <a:latin typeface="Calibri" panose="020F0502020204030204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73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spc="-53" baseline="0">
          <a:solidFill>
            <a:schemeClr val="accent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2859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37252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516454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66038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0431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94824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092173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236102" indent="-228594" algn="l" defTabSz="121917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408">
          <p15:clr>
            <a:srgbClr val="F26B43"/>
          </p15:clr>
        </p15:guide>
        <p15:guide id="3" pos="5239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5">
          <p15:clr>
            <a:srgbClr val="F26B43"/>
          </p15:clr>
        </p15:guide>
        <p15:guide id="6" orient="horz" pos="690">
          <p15:clr>
            <a:srgbClr val="F26B43"/>
          </p15:clr>
        </p15:guide>
        <p15:guide id="7" orient="horz" pos="28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56000" y="1118951"/>
            <a:ext cx="9840000" cy="1264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2741821"/>
            <a:ext cx="9840000" cy="31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6000" y="6356351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356351"/>
            <a:ext cx="3860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20300" y="6356351"/>
            <a:ext cx="29698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MarkPro-Heavy" pitchFamily="34" charset="0"/>
              </a:defRPr>
            </a:lvl1pPr>
          </a:lstStyle>
          <a:p>
            <a:fld id="{7A724D6D-BC2C-44CD-924E-130E826C3A1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376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  <p:sldLayoutId id="2147483894" r:id="rId16"/>
    <p:sldLayoutId id="2147483895" r:id="rId17"/>
    <p:sldLayoutId id="2147483896" r:id="rId18"/>
    <p:sldLayoutId id="2147483897" r:id="rId19"/>
    <p:sldLayoutId id="2147483898" r:id="rId20"/>
    <p:sldLayoutId id="2147483899" r:id="rId21"/>
    <p:sldLayoutId id="2147483900" r:id="rId22"/>
    <p:sldLayoutId id="2147483901" r:id="rId23"/>
    <p:sldLayoutId id="2147483902" r:id="rId24"/>
    <p:sldLayoutId id="2147483903" r:id="rId25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267" kern="1200" cap="all" spc="-53" baseline="0">
          <a:solidFill>
            <a:schemeClr val="accent4"/>
          </a:solidFill>
          <a:latin typeface="MarkPro-Heavy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143996" indent="-143996" algn="l" defTabSz="121917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287993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575986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863978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1007975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1151971" indent="-143996" algn="l" defTabSz="1219170" rtl="0" eaLnBrk="1" latinLnBrk="0" hangingPunct="1">
        <a:lnSpc>
          <a:spcPct val="125000"/>
        </a:lnSpc>
        <a:spcBef>
          <a:spcPts val="0"/>
        </a:spcBef>
        <a:buFont typeface="MarkPro" pitchFamily="34" charset="0"/>
        <a:buChar char="–"/>
        <a:defRPr sz="1333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tiff"/><Relationship Id="rId4" Type="http://schemas.openxmlformats.org/officeDocument/2006/relationships/image" Target="../media/image69.tiff"/><Relationship Id="rId5" Type="http://schemas.openxmlformats.org/officeDocument/2006/relationships/image" Target="../media/image70.png"/><Relationship Id="rId1" Type="http://schemas.openxmlformats.org/officeDocument/2006/relationships/slideLayout" Target="../slideLayouts/slideLayout116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slideLayout" Target="../slideLayouts/slideLayout110.xml"/><Relationship Id="rId5" Type="http://schemas.openxmlformats.org/officeDocument/2006/relationships/notesSlide" Target="../notesSlides/notesSlide10.xml"/><Relationship Id="rId6" Type="http://schemas.openxmlformats.org/officeDocument/2006/relationships/image" Target="../media/image71.png"/><Relationship Id="rId7" Type="http://schemas.openxmlformats.org/officeDocument/2006/relationships/image" Target="../media/image72.png"/><Relationship Id="rId8" Type="http://schemas.openxmlformats.org/officeDocument/2006/relationships/image" Target="../media/image73.png"/><Relationship Id="rId9" Type="http://schemas.openxmlformats.org/officeDocument/2006/relationships/image" Target="../media/image74.png"/><Relationship Id="rId10" Type="http://schemas.openxmlformats.org/officeDocument/2006/relationships/image" Target="../media/image75.png"/><Relationship Id="rId1" Type="http://schemas.microsoft.com/office/2007/relationships/media" Target="../media/media1.mp4"/><Relationship Id="rId2" Type="http://schemas.openxmlformats.org/officeDocument/2006/relationships/video" Target="../media/media1.mp4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Relationship Id="rId2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2.jpeg"/><Relationship Id="rId12" Type="http://schemas.microsoft.com/office/2007/relationships/hdphoto" Target="../media/hdphoto5.wdp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8.jpeg"/><Relationship Id="rId4" Type="http://schemas.microsoft.com/office/2007/relationships/hdphoto" Target="../media/hdphoto1.wdp"/><Relationship Id="rId5" Type="http://schemas.openxmlformats.org/officeDocument/2006/relationships/image" Target="../media/image29.jpeg"/><Relationship Id="rId6" Type="http://schemas.microsoft.com/office/2007/relationships/hdphoto" Target="../media/hdphoto2.wdp"/><Relationship Id="rId7" Type="http://schemas.openxmlformats.org/officeDocument/2006/relationships/image" Target="../media/image30.jpeg"/><Relationship Id="rId8" Type="http://schemas.microsoft.com/office/2007/relationships/hdphoto" Target="../media/hdphoto3.wdp"/><Relationship Id="rId9" Type="http://schemas.openxmlformats.org/officeDocument/2006/relationships/image" Target="../media/image31.jpeg"/><Relationship Id="rId10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4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0" Type="http://schemas.openxmlformats.org/officeDocument/2006/relationships/image" Target="../media/image43.png"/><Relationship Id="rId21" Type="http://schemas.microsoft.com/office/2007/relationships/hdphoto" Target="../media/hdphoto10.wdp"/><Relationship Id="rId23" Type="http://schemas.openxmlformats.org/officeDocument/2006/relationships/image" Target="NULL"/><Relationship Id="rId25" Type="http://schemas.openxmlformats.org/officeDocument/2006/relationships/image" Target="NULL"/><Relationship Id="rId51" Type="http://schemas.openxmlformats.org/officeDocument/2006/relationships/image" Target="NULL"/><Relationship Id="rId52" Type="http://schemas.openxmlformats.org/officeDocument/2006/relationships/image" Target="../media/image44.png"/><Relationship Id="rId53" Type="http://schemas.microsoft.com/office/2007/relationships/hdphoto" Target="../media/hdphoto11.wdp"/><Relationship Id="rId54" Type="http://schemas.openxmlformats.org/officeDocument/2006/relationships/image" Target="../media/image45.png"/><Relationship Id="rId55" Type="http://schemas.openxmlformats.org/officeDocument/2006/relationships/image" Target="../media/image46.png"/><Relationship Id="rId56" Type="http://schemas.microsoft.com/office/2007/relationships/hdphoto" Target="../media/hdphoto12.wdp"/><Relationship Id="rId1" Type="http://schemas.openxmlformats.org/officeDocument/2006/relationships/slideLayout" Target="../slideLayouts/slideLayout7.xml"/><Relationship Id="rId58" Type="http://schemas.openxmlformats.org/officeDocument/2006/relationships/image" Target="../media/image47.png"/><Relationship Id="rId59" Type="http://schemas.microsoft.com/office/2007/relationships/hdphoto" Target="../media/hdphoto13.wdp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8.png"/><Relationship Id="rId4" Type="http://schemas.microsoft.com/office/2007/relationships/hdphoto" Target="../media/hdphoto6.wdp"/><Relationship Id="rId5" Type="http://schemas.openxmlformats.org/officeDocument/2006/relationships/image" Target="NULL"/><Relationship Id="rId6" Type="http://schemas.openxmlformats.org/officeDocument/2006/relationships/image" Target="../media/image39.png"/><Relationship Id="rId7" Type="http://schemas.microsoft.com/office/2007/relationships/hdphoto" Target="../media/hdphoto7.wdp"/><Relationship Id="rId8" Type="http://schemas.openxmlformats.org/officeDocument/2006/relationships/image" Target="NULL"/><Relationship Id="rId9" Type="http://schemas.openxmlformats.org/officeDocument/2006/relationships/image" Target="../media/image40.png"/><Relationship Id="rId57" Type="http://schemas.openxmlformats.org/officeDocument/2006/relationships/image" Target="NULL"/><Relationship Id="rId10" Type="http://schemas.microsoft.com/office/2007/relationships/hdphoto" Target="../media/hdphoto8.wdp"/><Relationship Id="rId11" Type="http://schemas.openxmlformats.org/officeDocument/2006/relationships/image" Target="NULL"/><Relationship Id="rId12" Type="http://schemas.openxmlformats.org/officeDocument/2006/relationships/image" Target="../media/image41.png"/><Relationship Id="rId13" Type="http://schemas.microsoft.com/office/2007/relationships/hdphoto" Target="../media/hdphoto9.wdp"/><Relationship Id="rId15" Type="http://schemas.openxmlformats.org/officeDocument/2006/relationships/image" Target="NULL"/><Relationship Id="rId16" Type="http://schemas.openxmlformats.org/officeDocument/2006/relationships/image" Target="../media/image42.png"/><Relationship Id="rId60" Type="http://schemas.openxmlformats.org/officeDocument/2006/relationships/image" Target="NULL"/><Relationship Id="rId61" Type="http://schemas.openxmlformats.org/officeDocument/2006/relationships/image" Target="../media/image48.png"/><Relationship Id="rId62" Type="http://schemas.microsoft.com/office/2007/relationships/hdphoto" Target="../media/hdphoto14.wdp"/><Relationship Id="rId19" Type="http://schemas.openxmlformats.org/officeDocument/2006/relationships/image" Target="NULL"/><Relationship Id="rId63" Type="http://schemas.openxmlformats.org/officeDocument/2006/relationships/image" Target="../media/image49.png"/><Relationship Id="rId64" Type="http://schemas.openxmlformats.org/officeDocument/2006/relationships/image" Target="../media/image50.png"/><Relationship Id="rId65" Type="http://schemas.microsoft.com/office/2007/relationships/hdphoto" Target="../media/hdphoto15.wdp"/><Relationship Id="rId66" Type="http://schemas.microsoft.com/office/2007/relationships/hdphoto" Target="../media/hdphoto16.wdp"/><Relationship Id="rId67" Type="http://schemas.microsoft.com/office/2007/relationships/hdphoto" Target="../media/hdphoto17.wdp"/><Relationship Id="rId68" Type="http://schemas.openxmlformats.org/officeDocument/2006/relationships/image" Target="../media/image51.tiff"/><Relationship Id="rId43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4" Type="http://schemas.microsoft.com/office/2007/relationships/hdphoto" Target="../media/hdphoto18.wdp"/><Relationship Id="rId5" Type="http://schemas.openxmlformats.org/officeDocument/2006/relationships/image" Target="../media/image53.emf"/><Relationship Id="rId6" Type="http://schemas.openxmlformats.org/officeDocument/2006/relationships/image" Target="../media/image54.em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5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56.jpeg"/></Relationships>
</file>

<file path=ppt/slides/_rels/slide9.xml.rels><?xml version="1.0" encoding="UTF-8" standalone="yes"?>
<Relationships xmlns="http://schemas.openxmlformats.org/package/2006/relationships"><Relationship Id="rId39" Type="http://schemas.openxmlformats.org/officeDocument/2006/relationships/image" Target="../media/image141.svg"/><Relationship Id="rId41" Type="http://schemas.openxmlformats.org/officeDocument/2006/relationships/image" Target="../media/image143.svg"/><Relationship Id="rId43" Type="http://schemas.openxmlformats.org/officeDocument/2006/relationships/image" Target="../media/image145.svg"/><Relationship Id="rId44" Type="http://schemas.openxmlformats.org/officeDocument/2006/relationships/image" Target="../media/image62.png"/><Relationship Id="rId45" Type="http://schemas.openxmlformats.org/officeDocument/2006/relationships/image" Target="../media/image63.png"/><Relationship Id="rId46" Type="http://schemas.openxmlformats.org/officeDocument/2006/relationships/image" Target="../media/image42.png"/><Relationship Id="rId19" Type="http://schemas.openxmlformats.org/officeDocument/2006/relationships/image" Target="../media/image121.sv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60.png"/><Relationship Id="rId4" Type="http://schemas.openxmlformats.org/officeDocument/2006/relationships/image" Target="../media/image61.png"/><Relationship Id="rId47" Type="http://schemas.openxmlformats.org/officeDocument/2006/relationships/image" Target="../media/image64.png"/><Relationship Id="rId5" Type="http://schemas.openxmlformats.org/officeDocument/2006/relationships/image" Target="../media/image107.svg"/><Relationship Id="rId48" Type="http://schemas.openxmlformats.org/officeDocument/2006/relationships/image" Target="../media/image65.emf"/><Relationship Id="rId49" Type="http://schemas.openxmlformats.org/officeDocument/2006/relationships/image" Target="../media/image66.png"/><Relationship Id="rId7" Type="http://schemas.openxmlformats.org/officeDocument/2006/relationships/image" Target="../media/image109.svg"/><Relationship Id="rId50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733" b="1" dirty="0" err="1" smtClean="0"/>
              <a:t>Redefining</a:t>
            </a:r>
            <a:r>
              <a:rPr lang="de-DE" sz="3733" b="1" dirty="0" smtClean="0"/>
              <a:t> URBAN Mobility </a:t>
            </a:r>
            <a:r>
              <a:rPr lang="de-DE" sz="3733" b="1" dirty="0"/>
              <a:t/>
            </a:r>
            <a:br>
              <a:rPr lang="de-DE" sz="3733" b="1" dirty="0"/>
            </a:br>
            <a:endParaRPr lang="de-DE" sz="3733" b="1" cap="non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11895667" y="6356351"/>
            <a:ext cx="296333" cy="366183"/>
          </a:xfrm>
        </p:spPr>
        <p:txBody>
          <a:bodyPr/>
          <a:lstStyle/>
          <a:p>
            <a:fld id="{7A724D6D-BC2C-44CD-924E-130E826C3A1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7513"/>
    </mc:Choice>
    <mc:Fallback>
      <p:transition spd="slow" advTm="675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action needed between all the involved Stakeholder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Oval 7"/>
          <p:cNvSpPr/>
          <p:nvPr/>
        </p:nvSpPr>
        <p:spPr bwMode="gray">
          <a:xfrm>
            <a:off x="4871864" y="1091877"/>
            <a:ext cx="2088232" cy="2088232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noProof="0" dirty="0" err="1" smtClean="0">
              <a:latin typeface="+mj-lt"/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711624" y="3705496"/>
            <a:ext cx="2088232" cy="2088232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noProof="0" dirty="0" err="1" smtClean="0">
              <a:latin typeface="+mj-lt"/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6960096" y="3731864"/>
            <a:ext cx="2088232" cy="2088232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noProof="0" dirty="0" err="1" smtClean="0">
              <a:latin typeface="+mj-lt"/>
            </a:endParaRPr>
          </a:p>
        </p:txBody>
      </p:sp>
      <p:cxnSp>
        <p:nvCxnSpPr>
          <p:cNvPr id="12" name="Curved Connector 11"/>
          <p:cNvCxnSpPr>
            <a:stCxn id="9" idx="0"/>
            <a:endCxn id="8" idx="2"/>
          </p:cNvCxnSpPr>
          <p:nvPr/>
        </p:nvCxnSpPr>
        <p:spPr bwMode="gray">
          <a:xfrm rot="5400000" flipH="1" flipV="1">
            <a:off x="3529051" y="2362683"/>
            <a:ext cx="1569503" cy="1116124"/>
          </a:xfrm>
          <a:prstGeom prst="curvedConnector2">
            <a:avLst/>
          </a:prstGeom>
          <a:ln w="1143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urved Connector 14"/>
          <p:cNvCxnSpPr>
            <a:stCxn id="10" idx="3"/>
            <a:endCxn id="9" idx="5"/>
          </p:cNvCxnSpPr>
          <p:nvPr/>
        </p:nvCxnSpPr>
        <p:spPr bwMode="gray">
          <a:xfrm rot="5400000" flipH="1">
            <a:off x="5866792" y="4115164"/>
            <a:ext cx="26368" cy="2771868"/>
          </a:xfrm>
          <a:prstGeom prst="curvedConnector3">
            <a:avLst>
              <a:gd name="adj1" fmla="val -2026752"/>
            </a:avLst>
          </a:prstGeom>
          <a:ln w="1143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urved Connector 17"/>
          <p:cNvCxnSpPr>
            <a:stCxn id="8" idx="6"/>
            <a:endCxn id="10" idx="0"/>
          </p:cNvCxnSpPr>
          <p:nvPr/>
        </p:nvCxnSpPr>
        <p:spPr bwMode="gray">
          <a:xfrm>
            <a:off x="6960096" y="2135993"/>
            <a:ext cx="1044116" cy="1595871"/>
          </a:xfrm>
          <a:prstGeom prst="curvedConnector2">
            <a:avLst/>
          </a:prstGeom>
          <a:ln w="1143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1643" y="4394740"/>
            <a:ext cx="975680" cy="81485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2320" y="4271910"/>
            <a:ext cx="975680" cy="8148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0160" y="4149080"/>
            <a:ext cx="975680" cy="814854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 bwMode="gray">
          <a:xfrm>
            <a:off x="3048557" y="5222363"/>
            <a:ext cx="1584176" cy="283990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Fleet Operator</a:t>
            </a:r>
          </a:p>
        </p:txBody>
      </p:sp>
      <p:sp>
        <p:nvSpPr>
          <p:cNvPr id="27" name="TextBox 26"/>
          <p:cNvSpPr txBox="1"/>
          <p:nvPr/>
        </p:nvSpPr>
        <p:spPr bwMode="gray">
          <a:xfrm>
            <a:off x="7824192" y="5222363"/>
            <a:ext cx="654833" cy="265551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smtClean="0">
                <a:solidFill>
                  <a:schemeClr val="bg2"/>
                </a:solidFill>
              </a:rPr>
              <a:t>City</a:t>
            </a:r>
            <a:endParaRPr lang="en-US" sz="1600" noProof="0" dirty="0" err="1" smtClean="0">
              <a:solidFill>
                <a:schemeClr val="bg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5614088" y="2677382"/>
            <a:ext cx="654833" cy="265551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User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5765" y="1665725"/>
            <a:ext cx="880430" cy="83298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8612" y="4468299"/>
            <a:ext cx="1591199" cy="667735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 bwMode="gray">
          <a:xfrm>
            <a:off x="1115769" y="4042328"/>
            <a:ext cx="1584176" cy="650107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Occupancy &amp; </a:t>
            </a:r>
          </a:p>
          <a:p>
            <a:pPr>
              <a:buClr>
                <a:schemeClr val="bg2"/>
              </a:buClr>
            </a:pPr>
            <a:r>
              <a:rPr lang="en-US" sz="1600" dirty="0" smtClean="0">
                <a:solidFill>
                  <a:schemeClr val="bg2"/>
                </a:solidFill>
              </a:rPr>
              <a:t>Utilization</a:t>
            </a:r>
            <a:endParaRPr lang="en-US" sz="1600" noProof="0" dirty="0" smtClean="0">
              <a:solidFill>
                <a:schemeClr val="bg2"/>
              </a:solidFill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1111253" y="4884540"/>
            <a:ext cx="1584176" cy="650107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Fleet Size</a:t>
            </a:r>
          </a:p>
        </p:txBody>
      </p:sp>
      <p:sp>
        <p:nvSpPr>
          <p:cNvPr id="33" name="TextBox 32"/>
          <p:cNvSpPr txBox="1"/>
          <p:nvPr/>
        </p:nvSpPr>
        <p:spPr bwMode="gray">
          <a:xfrm>
            <a:off x="2963652" y="1277189"/>
            <a:ext cx="1584176" cy="650107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dirty="0" smtClean="0">
                <a:solidFill>
                  <a:schemeClr val="bg2"/>
                </a:solidFill>
              </a:rPr>
              <a:t>Out Vehicle Time</a:t>
            </a:r>
          </a:p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In vehicle  Time</a:t>
            </a:r>
          </a:p>
        </p:txBody>
      </p:sp>
      <p:sp>
        <p:nvSpPr>
          <p:cNvPr id="34" name="TextBox 33"/>
          <p:cNvSpPr txBox="1"/>
          <p:nvPr/>
        </p:nvSpPr>
        <p:spPr bwMode="gray">
          <a:xfrm>
            <a:off x="9328420" y="5114122"/>
            <a:ext cx="1584176" cy="650107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noProof="0" dirty="0" smtClean="0">
                <a:solidFill>
                  <a:schemeClr val="bg2"/>
                </a:solidFill>
              </a:rPr>
              <a:t>Congestion  &amp; delays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9699271" y="1089025"/>
            <a:ext cx="2226461" cy="1853908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>
              <a:buClr>
                <a:schemeClr val="bg2"/>
              </a:buClr>
            </a:pPr>
            <a:r>
              <a:rPr lang="en-US" sz="1600" b="1" dirty="0" smtClean="0">
                <a:solidFill>
                  <a:schemeClr val="bg2"/>
                </a:solidFill>
              </a:rPr>
              <a:t>Service Characteristics</a:t>
            </a:r>
          </a:p>
          <a:p>
            <a:pPr marL="285750" indent="-285750">
              <a:buClr>
                <a:schemeClr val="bg2"/>
              </a:buClr>
              <a:buFont typeface="Arial" charset="0"/>
              <a:buChar char="•"/>
            </a:pPr>
            <a:r>
              <a:rPr lang="en-US" sz="1600" noProof="0" dirty="0" smtClean="0">
                <a:solidFill>
                  <a:schemeClr val="bg2"/>
                </a:solidFill>
              </a:rPr>
              <a:t>Detour Ratio</a:t>
            </a:r>
          </a:p>
          <a:p>
            <a:pPr marL="285750" indent="-285750">
              <a:buClr>
                <a:schemeClr val="bg2"/>
              </a:buClr>
              <a:buFont typeface="Arial" charset="0"/>
              <a:buChar char="•"/>
            </a:pPr>
            <a:r>
              <a:rPr lang="en-US" sz="1600" dirty="0" smtClean="0">
                <a:solidFill>
                  <a:schemeClr val="bg2"/>
                </a:solidFill>
              </a:rPr>
              <a:t>Waiting time</a:t>
            </a:r>
          </a:p>
          <a:p>
            <a:pPr marL="285750" indent="-285750">
              <a:buClr>
                <a:schemeClr val="bg2"/>
              </a:buClr>
              <a:buFont typeface="Arial" charset="0"/>
              <a:buChar char="•"/>
            </a:pPr>
            <a:r>
              <a:rPr lang="en-US" sz="1600" noProof="0" dirty="0" smtClean="0">
                <a:solidFill>
                  <a:schemeClr val="bg2"/>
                </a:solidFill>
              </a:rPr>
              <a:t>Capacity</a:t>
            </a:r>
          </a:p>
          <a:p>
            <a:pPr marL="285750" indent="-285750">
              <a:buClr>
                <a:schemeClr val="bg2"/>
              </a:buClr>
              <a:buFont typeface="Arial" charset="0"/>
              <a:buChar char="•"/>
            </a:pPr>
            <a:r>
              <a:rPr lang="en-US" sz="1600" noProof="0" dirty="0" smtClean="0">
                <a:solidFill>
                  <a:schemeClr val="bg2"/>
                </a:solidFill>
              </a:rPr>
              <a:t>Road Restrictions</a:t>
            </a:r>
          </a:p>
          <a:p>
            <a:pPr marL="285750" indent="-285750">
              <a:buClr>
                <a:schemeClr val="bg2"/>
              </a:buClr>
              <a:buFont typeface="Arial" charset="0"/>
              <a:buChar char="•"/>
            </a:pPr>
            <a:r>
              <a:rPr lang="en-US" sz="1600" dirty="0" smtClean="0">
                <a:solidFill>
                  <a:schemeClr val="bg2"/>
                </a:solidFill>
              </a:rPr>
              <a:t>Station Distance</a:t>
            </a:r>
          </a:p>
          <a:p>
            <a:pPr>
              <a:buClr>
                <a:schemeClr val="bg2"/>
              </a:buClr>
            </a:pPr>
            <a:r>
              <a:rPr lang="mr-IN" sz="1600" noProof="0" dirty="0" smtClean="0">
                <a:solidFill>
                  <a:schemeClr val="bg2"/>
                </a:solidFill>
              </a:rPr>
              <a:t>…</a:t>
            </a:r>
            <a:r>
              <a:rPr lang="en-US" sz="1600" noProof="0" dirty="0" smtClean="0">
                <a:solidFill>
                  <a:schemeClr val="bg2"/>
                </a:solidFill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2115994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17160">
        <p:fade/>
      </p:transition>
    </mc:Choice>
    <mc:Fallback>
      <p:transition spd="med" advTm="11716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022236948-aerial-view-traffic-bangkok-lo_prores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4"/>
          <p:cNvSpPr/>
          <p:nvPr>
            <p:custDataLst>
              <p:tags r:id="rId3"/>
            </p:custDataLst>
          </p:nvPr>
        </p:nvSpPr>
        <p:spPr bwMode="gray">
          <a:xfrm>
            <a:off x="0" y="-2872"/>
            <a:ext cx="12192000" cy="6858000"/>
          </a:xfrm>
          <a:prstGeom prst="rect">
            <a:avLst/>
          </a:prstGeom>
          <a:gradFill flip="none" rotWithShape="1">
            <a:gsLst>
              <a:gs pos="40000">
                <a:srgbClr val="009DD7">
                  <a:alpha val="56000"/>
                </a:srgbClr>
              </a:gs>
              <a:gs pos="0">
                <a:srgbClr val="1AA37F">
                  <a:alpha val="64000"/>
                </a:srgbClr>
              </a:gs>
              <a:gs pos="90000">
                <a:srgbClr val="0A2737">
                  <a:alpha val="73000"/>
                </a:srgbClr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860EDB8-5305-433F-BE41-D7A86D811DB3}" type="slidenum">
              <a:rPr lang="en-US" smtClean="0">
                <a:solidFill>
                  <a:srgbClr val="FFFFFF"/>
                </a:solidFill>
              </a:rPr>
              <a:pPr/>
              <a:t>11</a:t>
            </a:fld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5" name="Gerade Verbindung 125"/>
          <p:cNvCxnSpPr/>
          <p:nvPr/>
        </p:nvCxnSpPr>
        <p:spPr bwMode="gray">
          <a:xfrm flipV="1">
            <a:off x="11290189" y="6474148"/>
            <a:ext cx="85782" cy="18170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9575" y="1916832"/>
            <a:ext cx="1308100" cy="2413000"/>
          </a:xfrm>
          <a:prstGeom prst="rect">
            <a:avLst/>
          </a:prstGeom>
        </p:spPr>
      </p:pic>
      <p:pic>
        <p:nvPicPr>
          <p:cNvPr id="22" name="Bild 2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425" y="3123458"/>
            <a:ext cx="1231900" cy="622048"/>
          </a:xfrm>
          <a:prstGeom prst="rect">
            <a:avLst/>
          </a:prstGeom>
        </p:spPr>
      </p:pic>
      <p:pic>
        <p:nvPicPr>
          <p:cNvPr id="23" name="Bild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2225342"/>
            <a:ext cx="711200" cy="711200"/>
          </a:xfrm>
          <a:prstGeom prst="rect">
            <a:avLst/>
          </a:prstGeom>
        </p:spPr>
      </p:pic>
      <p:pic>
        <p:nvPicPr>
          <p:cNvPr id="25" name="Bild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1164" y="2468715"/>
            <a:ext cx="1308100" cy="1320325"/>
          </a:xfrm>
          <a:prstGeom prst="rect">
            <a:avLst/>
          </a:prstGeom>
        </p:spPr>
      </p:pic>
      <p:sp>
        <p:nvSpPr>
          <p:cNvPr id="18" name="Text Placeholder 8"/>
          <p:cNvSpPr txBox="1">
            <a:spLocks/>
          </p:cNvSpPr>
          <p:nvPr/>
        </p:nvSpPr>
        <p:spPr bwMode="gray">
          <a:xfrm>
            <a:off x="587375" y="4331268"/>
            <a:ext cx="3492500" cy="66458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80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60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 spc="3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strike="noStrike" kern="1200" cap="all" spc="3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 spc="3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buClr>
                <a:srgbClr val="0A2737"/>
              </a:buClr>
            </a:pPr>
            <a:r>
              <a:rPr lang="en-US" b="1" dirty="0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CUSTOMER INTERFACE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8112125" y="4331268"/>
            <a:ext cx="3492500" cy="664587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latin typeface="Mark Pro" charset="0"/>
                <a:ea typeface="Mark Pro" charset="0"/>
                <a:cs typeface="Mark Pro" charset="0"/>
              </a:rPr>
              <a:t>Vehicle Design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6"/>
          </p:nvPr>
        </p:nvSpPr>
        <p:spPr bwMode="gray">
          <a:xfrm>
            <a:off x="4367214" y="4331268"/>
            <a:ext cx="3456000" cy="664587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latin typeface="Mark Pro" charset="0"/>
                <a:ea typeface="Mark Pro" charset="0"/>
                <a:cs typeface="Mark Pro" charset="0"/>
              </a:rPr>
              <a:t>Fleet Operation &amp; Algorithms</a:t>
            </a:r>
          </a:p>
        </p:txBody>
      </p:sp>
      <p:sp>
        <p:nvSpPr>
          <p:cNvPr id="24" name="Shape 291"/>
          <p:cNvSpPr/>
          <p:nvPr/>
        </p:nvSpPr>
        <p:spPr>
          <a:xfrm>
            <a:off x="-5554" y="352691"/>
            <a:ext cx="11607250" cy="9102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numCol="1" anchor="t">
            <a:noAutofit/>
          </a:bodyPr>
          <a:lstStyle/>
          <a:p>
            <a:pPr algn="ctr" defTabSz="457200">
              <a:defRPr sz="1600" cap="all">
                <a:solidFill>
                  <a:srgbClr val="FFFFFF"/>
                </a:solidFill>
                <a:uFill>
                  <a:solidFill>
                    <a:srgbClr val="0069D9"/>
                  </a:solidFill>
                </a:uFill>
              </a:defRPr>
            </a:pPr>
            <a:endParaRPr dirty="0">
              <a:solidFill>
                <a:schemeClr val="bg1"/>
              </a:solidFill>
              <a:latin typeface="MarkPro" charset="0"/>
              <a:ea typeface="MarkPro" charset="0"/>
              <a:cs typeface="MarkPro" charset="0"/>
            </a:endParaRPr>
          </a:p>
          <a:p>
            <a:pPr algn="ctr" defTabSz="609585">
              <a:lnSpc>
                <a:spcPct val="90000"/>
              </a:lnSpc>
              <a:spcBef>
                <a:spcPct val="0"/>
              </a:spcBef>
              <a:defRPr sz="2600" cap="all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</a:defRPr>
            </a:pPr>
            <a:r>
              <a:rPr lang="de-DE" sz="3467" cap="all" spc="-110" dirty="0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Making </a:t>
            </a:r>
            <a:r>
              <a:rPr lang="de-DE" sz="3467" cap="all" spc="-110" dirty="0" err="1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it</a:t>
            </a:r>
            <a:r>
              <a:rPr lang="de-DE" sz="3467" cap="all" spc="-110" dirty="0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 </a:t>
            </a:r>
            <a:r>
              <a:rPr lang="de-DE" sz="3467" cap="all" spc="-110" dirty="0" err="1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work</a:t>
            </a:r>
            <a:r>
              <a:rPr lang="de-DE" sz="3467" cap="all" spc="-110" dirty="0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 </a:t>
            </a:r>
            <a:r>
              <a:rPr lang="mr-IN" sz="3467" cap="all" spc="-110" dirty="0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–</a:t>
            </a:r>
            <a:r>
              <a:rPr lang="de-DE" sz="3467" cap="all" spc="-110" dirty="0">
                <a:solidFill>
                  <a:schemeClr val="bg1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</a:rPr>
              <a:t> END-TO-END </a:t>
            </a:r>
            <a:endParaRPr sz="3467" cap="all" spc="-110" dirty="0">
              <a:solidFill>
                <a:schemeClr val="bg1"/>
              </a:solidFill>
              <a:uFill>
                <a:solidFill>
                  <a:srgbClr val="0069D9"/>
                </a:solidFill>
              </a:uFill>
              <a:latin typeface="MarkPro" charset="0"/>
              <a:ea typeface="MarkPro" charset="0"/>
              <a:cs typeface="MarkPro" charset="0"/>
            </a:endParaRPr>
          </a:p>
        </p:txBody>
      </p:sp>
      <p:sp>
        <p:nvSpPr>
          <p:cNvPr id="26" name="Shape 292"/>
          <p:cNvSpPr/>
          <p:nvPr/>
        </p:nvSpPr>
        <p:spPr>
          <a:xfrm>
            <a:off x="5592873" y="1484784"/>
            <a:ext cx="1006251" cy="1"/>
          </a:xfrm>
          <a:prstGeom prst="line">
            <a:avLst/>
          </a:prstGeom>
          <a:noFill/>
          <a:ln w="25400" cap="flat">
            <a:solidFill>
              <a:schemeClr val="bg1"/>
            </a:solidFill>
            <a:prstDash val="solid"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algn="ctr" defTabSz="825500"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44732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32567"/>
    </mc:Choice>
    <mc:Fallback>
      <p:transition advTm="13256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14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</p:childTnLst>
        </p:cTn>
      </p:par>
    </p:tnLst>
  </p:timing>
  <p:extLst>
    <p:ext uri="{E180D4A7-C9FB-4DFB-919C-405C955672EB}">
      <p14:showEvtLst xmlns:p14="http://schemas.microsoft.com/office/powerpoint/2010/main">
        <p14:playEvt time="26" objId="16"/>
        <p14:playEvt time="14377" objId="16"/>
        <p14:playEvt time="28597" objId="16"/>
        <p14:playEvt time="42903" objId="16"/>
        <p14:playEvt time="57134" objId="16"/>
        <p14:playEvt time="71439" objId="16"/>
        <p14:playEvt time="85709" objId="16"/>
        <p14:playEvt time="99966" objId="16"/>
        <p14:playEvt time="114234" objId="16"/>
        <p14:playEvt time="128467" objId="16"/>
        <p14:stopEvt time="132567" objId="16"/>
      </p14:showEvtLst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3" name="Shape 211"/>
          <p:cNvSpPr/>
          <p:nvPr/>
        </p:nvSpPr>
        <p:spPr>
          <a:xfrm>
            <a:off x="2711624" y="5085184"/>
            <a:ext cx="2912187" cy="4734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19050" tIns="19050" rIns="19050" bIns="19050" numCol="1" anchor="ctr">
            <a:noAutofit/>
          </a:bodyPr>
          <a:lstStyle>
            <a:lvl1pPr>
              <a:defRPr sz="7000" b="1">
                <a:latin typeface="Mark Pro"/>
                <a:ea typeface="Mark Pro"/>
                <a:cs typeface="Mark Pro"/>
                <a:sym typeface="Mark Pro"/>
              </a:defRPr>
            </a:lvl1pPr>
          </a:lstStyle>
          <a:p>
            <a:pPr algn="ctr" defTabSz="309563" hangingPunct="0"/>
            <a:r>
              <a:rPr sz="2800" kern="0" dirty="0">
                <a:solidFill>
                  <a:srgbClr val="FFFFFF"/>
                </a:solidFill>
                <a:latin typeface="MarkPro" charset="0"/>
                <a:ea typeface="MarkPro" charset="0"/>
                <a:cs typeface="MarkPro" charset="0"/>
              </a:rPr>
              <a:t>#moiamobility</a:t>
            </a:r>
          </a:p>
        </p:txBody>
      </p:sp>
      <p:sp>
        <p:nvSpPr>
          <p:cNvPr id="4" name="Shape 213"/>
          <p:cNvSpPr/>
          <p:nvPr/>
        </p:nvSpPr>
        <p:spPr>
          <a:xfrm flipV="1">
            <a:off x="5974593" y="5110233"/>
            <a:ext cx="209571" cy="479071"/>
          </a:xfrm>
          <a:prstGeom prst="line">
            <a:avLst/>
          </a:prstGeom>
          <a:noFill/>
          <a:ln w="25400" cap="flat">
            <a:solidFill>
              <a:srgbClr val="FFE535"/>
            </a:solidFill>
            <a:prstDash val="solid"/>
            <a:miter lim="400000"/>
          </a:ln>
          <a:effectLst/>
        </p:spPr>
        <p:txBody>
          <a:bodyPr wrap="square" lIns="19050" tIns="19050" rIns="19050" bIns="19050" numCol="1" anchor="ctr">
            <a:noAutofit/>
          </a:bodyPr>
          <a:lstStyle/>
          <a:p>
            <a:pPr algn="ctr" defTabSz="309563" hangingPunct="0">
              <a:defRPr sz="3600"/>
            </a:pPr>
            <a:endParaRPr sz="1400" kern="0">
              <a:solidFill>
                <a:srgbClr val="FFFFFF"/>
              </a:solidFill>
              <a:latin typeface="Calibri" charset="0"/>
              <a:ea typeface="Calibri" charset="0"/>
              <a:cs typeface="Calibri" charset="0"/>
              <a:sym typeface="Helvetica Light"/>
            </a:endParaRPr>
          </a:p>
        </p:txBody>
      </p:sp>
      <p:sp>
        <p:nvSpPr>
          <p:cNvPr id="5" name="Shape 211"/>
          <p:cNvSpPr/>
          <p:nvPr/>
        </p:nvSpPr>
        <p:spPr>
          <a:xfrm>
            <a:off x="6426122" y="5085184"/>
            <a:ext cx="2624154" cy="4734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19050" tIns="19050" rIns="19050" bIns="19050" numCol="1" anchor="ctr">
            <a:noAutofit/>
          </a:bodyPr>
          <a:lstStyle>
            <a:lvl1pPr>
              <a:defRPr sz="7000" b="1">
                <a:latin typeface="Mark Pro"/>
                <a:ea typeface="Mark Pro"/>
                <a:cs typeface="Mark Pro"/>
                <a:sym typeface="Mark Pro"/>
              </a:defRPr>
            </a:lvl1pPr>
          </a:lstStyle>
          <a:p>
            <a:pPr algn="ctr" defTabSz="309563" hangingPunct="0"/>
            <a:r>
              <a:rPr lang="de-DE" sz="2800" kern="0" dirty="0" err="1">
                <a:solidFill>
                  <a:srgbClr val="FFFFFF"/>
                </a:solidFill>
                <a:latin typeface="MarkPro" charset="0"/>
                <a:ea typeface="MarkPro" charset="0"/>
                <a:cs typeface="MarkPro" charset="0"/>
              </a:rPr>
              <a:t>www.moia.io</a:t>
            </a:r>
            <a:endParaRPr sz="2800" kern="0" dirty="0">
              <a:solidFill>
                <a:srgbClr val="FFFFFF"/>
              </a:solidFill>
              <a:latin typeface="MarkPro" charset="0"/>
              <a:ea typeface="MarkPro" charset="0"/>
              <a:cs typeface="Mark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713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6710">
        <p:fade/>
      </p:transition>
    </mc:Choice>
    <mc:Fallback>
      <p:transition spd="med" advTm="1671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183" r="57386"/>
          <a:stretch/>
        </p:blipFill>
        <p:spPr>
          <a:xfrm>
            <a:off x="587445" y="2099373"/>
            <a:ext cx="2148952" cy="3887787"/>
          </a:xfrm>
          <a:prstGeom prst="rect">
            <a:avLst/>
          </a:prstGeom>
        </p:spPr>
      </p:pic>
      <p:pic>
        <p:nvPicPr>
          <p:cNvPr id="16" name="Bild 15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1417" t="8360" r="33791" b="89"/>
          <a:stretch/>
        </p:blipFill>
        <p:spPr>
          <a:xfrm>
            <a:off x="7228869" y="2099373"/>
            <a:ext cx="2160241" cy="3887787"/>
          </a:xfrm>
          <a:prstGeom prst="rect">
            <a:avLst/>
          </a:prstGeom>
        </p:spPr>
      </p:pic>
      <p:pic>
        <p:nvPicPr>
          <p:cNvPr id="17" name="Bild 1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4214" r="30526"/>
          <a:stretch/>
        </p:blipFill>
        <p:spPr>
          <a:xfrm>
            <a:off x="2797491" y="2099374"/>
            <a:ext cx="2160240" cy="3884612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3301" r="26242" b="214"/>
          <a:stretch/>
        </p:blipFill>
        <p:spPr>
          <a:xfrm>
            <a:off x="9450205" y="2099373"/>
            <a:ext cx="2148951" cy="3887787"/>
          </a:xfrm>
          <a:prstGeom prst="rect">
            <a:avLst/>
          </a:prstGeom>
        </p:spPr>
      </p:pic>
      <p:pic>
        <p:nvPicPr>
          <p:cNvPr id="19" name="Bild 1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4325" r="31301"/>
          <a:stretch/>
        </p:blipFill>
        <p:spPr>
          <a:xfrm>
            <a:off x="5013347" y="2104329"/>
            <a:ext cx="2126459" cy="3880547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 bwMode="gray">
          <a:xfrm>
            <a:off x="587375" y="2099374"/>
            <a:ext cx="2160307" cy="388550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congestion</a:t>
            </a:r>
            <a:endParaRPr lang="de-DE" sz="1200" cap="all" spc="300" dirty="0">
              <a:solidFill>
                <a:prstClr val="black"/>
              </a:solidFill>
              <a:latin typeface="MarkPro-Bold"/>
            </a:endParaRPr>
          </a:p>
        </p:txBody>
      </p:sp>
      <p:sp>
        <p:nvSpPr>
          <p:cNvPr id="21" name="Rechteck 20"/>
          <p:cNvSpPr/>
          <p:nvPr/>
        </p:nvSpPr>
        <p:spPr bwMode="gray">
          <a:xfrm>
            <a:off x="2736395" y="2099374"/>
            <a:ext cx="2221335" cy="388461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ownership</a:t>
            </a:r>
            <a:endParaRPr lang="de-DE" sz="1200" cap="all" spc="300" dirty="0">
              <a:solidFill>
                <a:prstClr val="black"/>
              </a:solidFill>
              <a:latin typeface="MarkPro-Bold"/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5002062" y="2099373"/>
            <a:ext cx="2148951" cy="3887787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Parking</a:t>
            </a:r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 </a:t>
            </a:r>
          </a:p>
          <a:p>
            <a:pPr algn="ctr"/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STRESS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7228863" y="2099374"/>
            <a:ext cx="2160247" cy="388550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EMISSIONs </a:t>
            </a:r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and</a:t>
            </a:r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 </a:t>
            </a:r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noise</a:t>
            </a:r>
            <a:endParaRPr lang="de-DE" sz="1200" cap="all" spc="300" dirty="0">
              <a:solidFill>
                <a:prstClr val="black"/>
              </a:solidFill>
              <a:latin typeface="MarkPro-Bold"/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9450195" y="2099374"/>
            <a:ext cx="2154431" cy="388550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Lack </a:t>
            </a:r>
            <a:r>
              <a:rPr lang="de-DE" sz="1200" cap="all" spc="300" dirty="0" err="1">
                <a:solidFill>
                  <a:prstClr val="black"/>
                </a:solidFill>
                <a:latin typeface="MarkPro-Bold"/>
              </a:rPr>
              <a:t>of</a:t>
            </a:r>
            <a:r>
              <a:rPr lang="de-DE" sz="1200" cap="all" spc="300" dirty="0">
                <a:solidFill>
                  <a:prstClr val="black"/>
                </a:solidFill>
                <a:latin typeface="MarkPro-Bold"/>
              </a:rPr>
              <a:t> alternative TECHNOLOGIE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6273800"/>
            <a:ext cx="10333038" cy="358775"/>
          </a:xfrm>
        </p:spPr>
        <p:txBody>
          <a:bodyPr/>
          <a:lstStyle/>
          <a:p>
            <a:r>
              <a:rPr lang="de-DE" sz="800" baseline="30000" dirty="0"/>
              <a:t>1</a:t>
            </a:r>
            <a:r>
              <a:rPr lang="de-DE" sz="800" dirty="0"/>
              <a:t>motorized </a:t>
            </a:r>
            <a:r>
              <a:rPr lang="de-DE" sz="800" dirty="0" err="1"/>
              <a:t>and</a:t>
            </a:r>
            <a:r>
              <a:rPr lang="de-DE" sz="800" dirty="0"/>
              <a:t> non- </a:t>
            </a:r>
            <a:r>
              <a:rPr lang="de-DE" sz="800" dirty="0" err="1"/>
              <a:t>motorized</a:t>
            </a:r>
            <a:r>
              <a:rPr lang="de-DE" sz="800" dirty="0"/>
              <a:t/>
            </a:r>
            <a:br>
              <a:rPr lang="de-DE" sz="800" dirty="0"/>
            </a:br>
            <a:r>
              <a:rPr lang="de-DE" sz="800" dirty="0"/>
              <a:t>Source: US </a:t>
            </a:r>
            <a:r>
              <a:rPr lang="de-DE" sz="800" dirty="0" err="1"/>
              <a:t>Census</a:t>
            </a:r>
            <a:r>
              <a:rPr lang="de-DE" sz="800" dirty="0"/>
              <a:t> Bureau; UN Population Division; Schaefer/Victor, 2000; ADL, 2012; KPMG, 2015; Audi Urban Future Initiative, 2013; </a:t>
            </a:r>
            <a:r>
              <a:rPr lang="de-DE" sz="800" dirty="0" err="1"/>
              <a:t>stuttgart.de</a:t>
            </a:r>
            <a:r>
              <a:rPr lang="de-DE" sz="800" dirty="0"/>
              <a:t>, 2017</a:t>
            </a:r>
          </a:p>
        </p:txBody>
      </p:sp>
      <p:sp>
        <p:nvSpPr>
          <p:cNvPr id="8" name="Rectangle 15"/>
          <p:cNvSpPr/>
          <p:nvPr/>
        </p:nvSpPr>
        <p:spPr>
          <a:xfrm>
            <a:off x="4022729" y="5059499"/>
            <a:ext cx="4107616" cy="10152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ct val="0"/>
              </a:spcBef>
              <a:spcAft>
                <a:spcPts val="450"/>
              </a:spcAft>
            </a:pPr>
            <a:r>
              <a:rPr lang="en-US" sz="2800" b="1" dirty="0">
                <a:solidFill>
                  <a:schemeClr val="bg2"/>
                </a:solidFill>
                <a:ea typeface="Calibri" charset="0"/>
                <a:cs typeface="Calibri" charset="0"/>
              </a:rPr>
              <a:t>3,5x Increase </a:t>
            </a:r>
            <a:r>
              <a:rPr lang="en-US" sz="1600" b="1" dirty="0">
                <a:solidFill>
                  <a:schemeClr val="bg2"/>
                </a:solidFill>
                <a:ea typeface="Calibri" charset="0"/>
                <a:cs typeface="Calibri" charset="0"/>
              </a:rPr>
              <a:t/>
            </a:r>
            <a:br>
              <a:rPr lang="en-US" sz="1600" b="1" dirty="0">
                <a:solidFill>
                  <a:schemeClr val="bg2"/>
                </a:solidFill>
                <a:ea typeface="Calibri" charset="0"/>
                <a:cs typeface="Calibri" charset="0"/>
              </a:rPr>
            </a:br>
            <a:r>
              <a:rPr lang="en-US" sz="1600" b="1" dirty="0">
                <a:solidFill>
                  <a:schemeClr val="bg2"/>
                </a:solidFill>
                <a:ea typeface="Calibri" charset="0"/>
                <a:cs typeface="Calibri" charset="0"/>
              </a:rPr>
              <a:t>in personal kilometers</a:t>
            </a:r>
            <a:r>
              <a:rPr lang="en-US" sz="1600" baseline="30000" dirty="0">
                <a:solidFill>
                  <a:schemeClr val="bg2"/>
                </a:solidFill>
                <a:ea typeface="Calibri" charset="0"/>
                <a:cs typeface="Calibri" charset="0"/>
              </a:rPr>
              <a:t>1</a:t>
            </a: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 traveled in non-OECD countries until 2050</a:t>
            </a:r>
          </a:p>
        </p:txBody>
      </p:sp>
      <p:sp>
        <p:nvSpPr>
          <p:cNvPr id="9" name="Rechteck 8"/>
          <p:cNvSpPr/>
          <p:nvPr/>
        </p:nvSpPr>
        <p:spPr>
          <a:xfrm>
            <a:off x="1350257" y="1796784"/>
            <a:ext cx="2592287" cy="102681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800" b="1" dirty="0">
                <a:solidFill>
                  <a:schemeClr val="bg2"/>
                </a:solidFill>
                <a:ea typeface="Calibri" charset="0"/>
                <a:cs typeface="Calibri" charset="0"/>
              </a:rPr>
              <a:t>64%</a:t>
            </a:r>
            <a:r>
              <a:rPr lang="en-US" b="1" dirty="0">
                <a:solidFill>
                  <a:schemeClr val="bg2"/>
                </a:solidFill>
                <a:ea typeface="Calibri" charset="0"/>
                <a:cs typeface="Calibri" charset="0"/>
              </a:rPr>
              <a:t> of mobility </a:t>
            </a:r>
            <a:r>
              <a:rPr lang="en-US" sz="1050" dirty="0">
                <a:solidFill>
                  <a:schemeClr val="bg2"/>
                </a:solidFill>
                <a:ea typeface="Calibri" charset="0"/>
                <a:cs typeface="Calibri" charset="0"/>
              </a:rPr>
              <a:t/>
            </a:r>
            <a:br>
              <a:rPr lang="en-US" sz="1050" dirty="0">
                <a:solidFill>
                  <a:schemeClr val="bg2"/>
                </a:solidFill>
                <a:ea typeface="Calibri" charset="0"/>
                <a:cs typeface="Calibri" charset="0"/>
              </a:rPr>
            </a:b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in the world takes </a:t>
            </a:r>
          </a:p>
          <a:p>
            <a:pPr algn="ctr">
              <a:spcBef>
                <a:spcPct val="0"/>
              </a:spcBef>
            </a:pP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place </a:t>
            </a:r>
            <a:r>
              <a:rPr lang="en-US" sz="1600" b="1" dirty="0">
                <a:solidFill>
                  <a:schemeClr val="bg2"/>
                </a:solidFill>
                <a:ea typeface="Calibri" charset="0"/>
                <a:cs typeface="Calibri" charset="0"/>
              </a:rPr>
              <a:t>in urban area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6960096" y="1829027"/>
            <a:ext cx="4143451" cy="9324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lIns="36000" tIns="36000" rIns="36000" bIns="36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The </a:t>
            </a:r>
            <a:r>
              <a:rPr lang="en-US" sz="1600" b="1" dirty="0">
                <a:solidFill>
                  <a:schemeClr val="bg2"/>
                </a:solidFill>
                <a:ea typeface="Calibri" charset="0"/>
                <a:cs typeface="Calibri" charset="0"/>
              </a:rPr>
              <a:t>average speed </a:t>
            </a: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in London, Beijing and </a:t>
            </a:r>
            <a:b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</a:b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Shanghai is today </a:t>
            </a:r>
            <a:r>
              <a:rPr lang="en-US" sz="2800" b="1" dirty="0">
                <a:solidFill>
                  <a:schemeClr val="bg2"/>
                </a:solidFill>
                <a:ea typeface="Calibri" charset="0"/>
                <a:cs typeface="Calibri" charset="0"/>
              </a:rPr>
              <a:t>ca.  10 </a:t>
            </a:r>
            <a:r>
              <a:rPr lang="en-US" sz="2800" b="1" dirty="0" smtClean="0">
                <a:solidFill>
                  <a:schemeClr val="bg2"/>
                </a:solidFill>
                <a:ea typeface="Calibri" charset="0"/>
                <a:cs typeface="Calibri" charset="0"/>
              </a:rPr>
              <a:t>km/h </a:t>
            </a:r>
            <a:r>
              <a:rPr lang="en-US" b="1" dirty="0">
                <a:solidFill>
                  <a:schemeClr val="bg2"/>
                </a:solidFill>
                <a:ea typeface="Calibri" charset="0"/>
                <a:cs typeface="Calibri" charset="0"/>
              </a:rPr>
              <a:t/>
            </a:r>
            <a:br>
              <a:rPr lang="en-US" b="1" dirty="0">
                <a:solidFill>
                  <a:schemeClr val="bg2"/>
                </a:solidFill>
                <a:ea typeface="Calibri" charset="0"/>
                <a:cs typeface="Calibri" charset="0"/>
              </a:rPr>
            </a:br>
            <a:r>
              <a:rPr lang="en-US" sz="1600" dirty="0">
                <a:solidFill>
                  <a:schemeClr val="bg2"/>
                </a:solidFill>
                <a:ea typeface="Calibri" charset="0"/>
                <a:cs typeface="Calibri" charset="0"/>
              </a:rPr>
              <a:t>– as fast as horse-drawn carriage in 1900</a:t>
            </a:r>
            <a:endParaRPr lang="en-US" sz="1600" baseline="30000" dirty="0">
              <a:solidFill>
                <a:schemeClr val="bg2"/>
              </a:solidFill>
              <a:ea typeface="Calibri" charset="0"/>
              <a:cs typeface="Calibri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>
          <a:xfrm>
            <a:off x="440530" y="546498"/>
            <a:ext cx="11158626" cy="54054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all" spc="-11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ecause Most cities worldwide face similar traffic probl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05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1852"/>
    </mc:Choice>
    <mc:Fallback>
      <p:transition spd="slow" advTm="61852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/>
              <a:t>…</a:t>
            </a:r>
            <a:r>
              <a:rPr lang="de-DE" dirty="0" smtClean="0"/>
              <a:t> </a:t>
            </a:r>
            <a:r>
              <a:rPr lang="en-US" dirty="0" smtClean="0"/>
              <a:t>And want to transform cities towards a desirable, sustainable futur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11910349" y="7222603"/>
            <a:ext cx="914400" cy="914400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marL="215995" indent="-215995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bg2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11910349" y="1111171"/>
            <a:ext cx="914400" cy="914400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marL="215995" indent="-215995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bg2"/>
              </a:solidFill>
            </a:endParaRPr>
          </a:p>
        </p:txBody>
      </p:sp>
      <p:pic>
        <p:nvPicPr>
          <p:cNvPr id="2" name="Bild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32" y="3789040"/>
            <a:ext cx="8292065" cy="196171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19" y="1482924"/>
            <a:ext cx="6667500" cy="309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515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45700">
        <p:fade/>
      </p:transition>
    </mc:Choice>
    <mc:Fallback>
      <p:transition spd="med" advTm="457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1412776"/>
            <a:ext cx="3960440" cy="288342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9" y="1077059"/>
            <a:ext cx="3780880" cy="273630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3775830"/>
            <a:ext cx="4089704" cy="2666441"/>
          </a:xfrm>
          <a:prstGeom prst="rect">
            <a:avLst/>
          </a:prstGeom>
        </p:spPr>
      </p:pic>
      <p:sp>
        <p:nvSpPr>
          <p:cNvPr id="7" name="Shape 291"/>
          <p:cNvSpPr/>
          <p:nvPr/>
        </p:nvSpPr>
        <p:spPr>
          <a:xfrm>
            <a:off x="263352" y="470255"/>
            <a:ext cx="4329615" cy="1213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67733" tIns="67733" rIns="67733" bIns="67733" numCol="1" anchor="t">
            <a:noAutofit/>
          </a:bodyPr>
          <a:lstStyle/>
          <a:p>
            <a:pPr defTabSz="609585">
              <a:defRPr sz="2600" cap="all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</a:defRPr>
            </a:pPr>
            <a:r>
              <a:rPr lang="de-DE" sz="2000" b="1" dirty="0" err="1" smtClean="0">
                <a:latin typeface="+mj-lt"/>
                <a:ea typeface="MarkPro" charset="0"/>
                <a:cs typeface="MarkPro" charset="0"/>
              </a:rPr>
              <a:t>What</a:t>
            </a:r>
            <a:r>
              <a:rPr lang="de-DE" sz="2000" b="1" dirty="0" smtClean="0">
                <a:latin typeface="+mj-lt"/>
                <a:ea typeface="MarkPro" charset="0"/>
                <a:cs typeface="MarkPro" charset="0"/>
              </a:rPr>
              <a:t> </a:t>
            </a:r>
            <a:r>
              <a:rPr lang="de-DE" sz="2000" b="1" dirty="0" err="1" smtClean="0">
                <a:latin typeface="+mj-lt"/>
                <a:ea typeface="MarkPro" charset="0"/>
                <a:cs typeface="MarkPro" charset="0"/>
              </a:rPr>
              <a:t>people</a:t>
            </a:r>
            <a:r>
              <a:rPr lang="de-DE" sz="2000" b="1" dirty="0" smtClean="0">
                <a:latin typeface="+mj-lt"/>
                <a:ea typeface="MarkPro" charset="0"/>
                <a:cs typeface="MarkPro" charset="0"/>
              </a:rPr>
              <a:t> </a:t>
            </a:r>
            <a:r>
              <a:rPr lang="de-DE" sz="2000" b="1" dirty="0" err="1" smtClean="0">
                <a:latin typeface="+mj-lt"/>
                <a:ea typeface="MarkPro" charset="0"/>
                <a:cs typeface="MarkPro" charset="0"/>
              </a:rPr>
              <a:t>think</a:t>
            </a:r>
            <a:r>
              <a:rPr lang="mr-IN" sz="2000" b="1" dirty="0" smtClean="0">
                <a:latin typeface="+mj-lt"/>
                <a:ea typeface="MarkPro" charset="0"/>
                <a:cs typeface="MarkPro" charset="0"/>
              </a:rPr>
              <a:t>……</a:t>
            </a:r>
            <a:endParaRPr sz="2000" b="1" dirty="0">
              <a:latin typeface="+mj-lt"/>
              <a:ea typeface="MarkPro" charset="0"/>
              <a:cs typeface="MarkPro" charset="0"/>
            </a:endParaRPr>
          </a:p>
        </p:txBody>
      </p:sp>
      <p:sp>
        <p:nvSpPr>
          <p:cNvPr id="8" name="Shape 291"/>
          <p:cNvSpPr/>
          <p:nvPr/>
        </p:nvSpPr>
        <p:spPr>
          <a:xfrm>
            <a:off x="6888088" y="620688"/>
            <a:ext cx="4370540" cy="1213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67733" tIns="67733" rIns="67733" bIns="67733" numCol="1" anchor="t">
            <a:noAutofit/>
          </a:bodyPr>
          <a:lstStyle/>
          <a:p>
            <a:pPr defTabSz="609585">
              <a:defRPr sz="2600" cap="all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</a:defRPr>
            </a:pPr>
            <a:r>
              <a:rPr lang="de-DE" sz="2000" b="1" dirty="0" err="1" smtClean="0">
                <a:latin typeface="+mj-lt"/>
                <a:ea typeface="MarkPro" charset="0"/>
                <a:cs typeface="MarkPro" charset="0"/>
              </a:rPr>
              <a:t>What</a:t>
            </a:r>
            <a:r>
              <a:rPr lang="de-DE" sz="2000" b="1" dirty="0" smtClean="0">
                <a:latin typeface="+mj-lt"/>
                <a:ea typeface="MarkPro" charset="0"/>
                <a:cs typeface="MarkPro" charset="0"/>
              </a:rPr>
              <a:t> </a:t>
            </a:r>
            <a:r>
              <a:rPr lang="de-DE" sz="2000" b="1" dirty="0" err="1" smtClean="0">
                <a:latin typeface="+mj-lt"/>
                <a:ea typeface="MarkPro" charset="0"/>
                <a:cs typeface="MarkPro" charset="0"/>
              </a:rPr>
              <a:t>people</a:t>
            </a:r>
            <a:r>
              <a:rPr lang="de-DE" sz="2000" b="1" dirty="0" smtClean="0">
                <a:latin typeface="+mj-lt"/>
                <a:ea typeface="MarkPro" charset="0"/>
                <a:cs typeface="MarkPro" charset="0"/>
              </a:rPr>
              <a:t> Want</a:t>
            </a:r>
            <a:r>
              <a:rPr lang="mr-IN" sz="2000" b="1" dirty="0" smtClean="0">
                <a:latin typeface="+mj-lt"/>
                <a:ea typeface="MarkPro" charset="0"/>
                <a:cs typeface="MarkPro" charset="0"/>
              </a:rPr>
              <a:t>……</a:t>
            </a:r>
            <a:r>
              <a:rPr lang="en-US" sz="2000" b="1" dirty="0" smtClean="0">
                <a:latin typeface="+mj-lt"/>
                <a:ea typeface="MarkPro" charset="0"/>
                <a:cs typeface="MarkPro" charset="0"/>
              </a:rPr>
              <a:t>.</a:t>
            </a:r>
            <a:endParaRPr sz="2000" b="1" dirty="0">
              <a:latin typeface="+mj-lt"/>
              <a:ea typeface="MarkPro" charset="0"/>
              <a:cs typeface="Mark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818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8276"/>
    </mc:Choice>
    <mc:Fallback>
      <p:transition spd="slow" advTm="98276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already several mobility options that aim to reduce urban traffic on the market. 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5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reihandform 7"/>
          <p:cNvSpPr/>
          <p:nvPr/>
        </p:nvSpPr>
        <p:spPr bwMode="gray">
          <a:xfrm>
            <a:off x="4079877" y="1484785"/>
            <a:ext cx="4779121" cy="3630401"/>
          </a:xfrm>
          <a:custGeom>
            <a:avLst/>
            <a:gdLst>
              <a:gd name="connsiteX0" fmla="*/ 1558842 w 5436157"/>
              <a:gd name="connsiteY0" fmla="*/ 565425 h 3550057"/>
              <a:gd name="connsiteX1" fmla="*/ 2837309 w 5436157"/>
              <a:gd name="connsiteY1" fmla="*/ 573891 h 3550057"/>
              <a:gd name="connsiteX2" fmla="*/ 3946442 w 5436157"/>
              <a:gd name="connsiteY2" fmla="*/ 116691 h 3550057"/>
              <a:gd name="connsiteX3" fmla="*/ 4683042 w 5436157"/>
              <a:gd name="connsiteY3" fmla="*/ 15091 h 3550057"/>
              <a:gd name="connsiteX4" fmla="*/ 5250309 w 5436157"/>
              <a:gd name="connsiteY4" fmla="*/ 370691 h 3550057"/>
              <a:gd name="connsiteX5" fmla="*/ 5411175 w 5436157"/>
              <a:gd name="connsiteY5" fmla="*/ 1183491 h 3550057"/>
              <a:gd name="connsiteX6" fmla="*/ 4784642 w 5436157"/>
              <a:gd name="connsiteY6" fmla="*/ 2665158 h 3550057"/>
              <a:gd name="connsiteX7" fmla="*/ 3040509 w 5436157"/>
              <a:gd name="connsiteY7" fmla="*/ 3418691 h 3550057"/>
              <a:gd name="connsiteX8" fmla="*/ 1169375 w 5436157"/>
              <a:gd name="connsiteY8" fmla="*/ 3494891 h 3550057"/>
              <a:gd name="connsiteX9" fmla="*/ 288842 w 5436157"/>
              <a:gd name="connsiteY9" fmla="*/ 2834491 h 3550057"/>
              <a:gd name="connsiteX10" fmla="*/ 975 w 5436157"/>
              <a:gd name="connsiteY10" fmla="*/ 1945491 h 3550057"/>
              <a:gd name="connsiteX11" fmla="*/ 221109 w 5436157"/>
              <a:gd name="connsiteY11" fmla="*/ 921025 h 3550057"/>
              <a:gd name="connsiteX12" fmla="*/ 864575 w 5436157"/>
              <a:gd name="connsiteY12" fmla="*/ 556958 h 3550057"/>
              <a:gd name="connsiteX13" fmla="*/ 1558842 w 5436157"/>
              <a:gd name="connsiteY13" fmla="*/ 565425 h 3550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36157" h="3550057">
                <a:moveTo>
                  <a:pt x="1558842" y="565425"/>
                </a:moveTo>
                <a:cubicBezTo>
                  <a:pt x="1887631" y="568247"/>
                  <a:pt x="2439376" y="648680"/>
                  <a:pt x="2837309" y="573891"/>
                </a:cubicBezTo>
                <a:cubicBezTo>
                  <a:pt x="3235242" y="499102"/>
                  <a:pt x="3638820" y="209824"/>
                  <a:pt x="3946442" y="116691"/>
                </a:cubicBezTo>
                <a:cubicBezTo>
                  <a:pt x="4254064" y="23558"/>
                  <a:pt x="4465731" y="-27242"/>
                  <a:pt x="4683042" y="15091"/>
                </a:cubicBezTo>
                <a:cubicBezTo>
                  <a:pt x="4900353" y="57424"/>
                  <a:pt x="5128954" y="175958"/>
                  <a:pt x="5250309" y="370691"/>
                </a:cubicBezTo>
                <a:cubicBezTo>
                  <a:pt x="5371664" y="565424"/>
                  <a:pt x="5488786" y="801080"/>
                  <a:pt x="5411175" y="1183491"/>
                </a:cubicBezTo>
                <a:cubicBezTo>
                  <a:pt x="5333564" y="1565902"/>
                  <a:pt x="5179753" y="2292625"/>
                  <a:pt x="4784642" y="2665158"/>
                </a:cubicBezTo>
                <a:cubicBezTo>
                  <a:pt x="4389531" y="3037691"/>
                  <a:pt x="3643053" y="3280402"/>
                  <a:pt x="3040509" y="3418691"/>
                </a:cubicBezTo>
                <a:cubicBezTo>
                  <a:pt x="2437965" y="3556980"/>
                  <a:pt x="1627986" y="3592258"/>
                  <a:pt x="1169375" y="3494891"/>
                </a:cubicBezTo>
                <a:cubicBezTo>
                  <a:pt x="710764" y="3397524"/>
                  <a:pt x="483575" y="3092724"/>
                  <a:pt x="288842" y="2834491"/>
                </a:cubicBezTo>
                <a:cubicBezTo>
                  <a:pt x="94109" y="2576258"/>
                  <a:pt x="12264" y="2264402"/>
                  <a:pt x="975" y="1945491"/>
                </a:cubicBezTo>
                <a:cubicBezTo>
                  <a:pt x="-10314" y="1626580"/>
                  <a:pt x="77176" y="1152447"/>
                  <a:pt x="221109" y="921025"/>
                </a:cubicBezTo>
                <a:cubicBezTo>
                  <a:pt x="365042" y="689603"/>
                  <a:pt x="648675" y="617636"/>
                  <a:pt x="864575" y="556958"/>
                </a:cubicBezTo>
                <a:cubicBezTo>
                  <a:pt x="1080475" y="496280"/>
                  <a:pt x="1230053" y="562603"/>
                  <a:pt x="1558842" y="565425"/>
                </a:cubicBezTo>
                <a:close/>
              </a:path>
            </a:pathLst>
          </a:custGeom>
          <a:solidFill>
            <a:schemeClr val="tx2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latin typeface="+mj-lt"/>
            </a:endParaRPr>
          </a:p>
        </p:txBody>
      </p:sp>
      <p:sp>
        <p:nvSpPr>
          <p:cNvPr id="9" name="Title 8"/>
          <p:cNvSpPr txBox="1">
            <a:spLocks/>
          </p:cNvSpPr>
          <p:nvPr/>
        </p:nvSpPr>
        <p:spPr>
          <a:xfrm>
            <a:off x="587375" y="728664"/>
            <a:ext cx="11017251" cy="7207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 cap="none" spc="-4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587375" y="2107975"/>
            <a:ext cx="5292" cy="3888845"/>
          </a:xfrm>
          <a:prstGeom prst="line">
            <a:avLst/>
          </a:prstGeom>
          <a:ln w="38100">
            <a:solidFill>
              <a:schemeClr val="bg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 flipV="1">
            <a:off x="579362" y="5984875"/>
            <a:ext cx="11003492" cy="1059"/>
          </a:xfrm>
          <a:prstGeom prst="line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579360" y="6011124"/>
            <a:ext cx="11003493" cy="262677"/>
          </a:xfrm>
          <a:prstGeom prst="rect">
            <a:avLst/>
          </a:prstGeom>
          <a:noFill/>
        </p:spPr>
        <p:txBody>
          <a:bodyPr wrap="none" lIns="36000" tIns="0" rIns="0" bIns="0" rtlCol="0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200" b="1" dirty="0">
                <a:solidFill>
                  <a:schemeClr val="bg2"/>
                </a:solidFill>
              </a:rPr>
              <a:t>price</a:t>
            </a:r>
            <a:endParaRPr lang="en-US" sz="1200" b="1" dirty="0">
              <a:solidFill>
                <a:schemeClr val="bg2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 bwMode="gray">
          <a:xfrm rot="16200000">
            <a:off x="-1463820" y="3915087"/>
            <a:ext cx="3876903" cy="262677"/>
          </a:xfrm>
          <a:prstGeom prst="rect">
            <a:avLst/>
          </a:prstGeom>
          <a:noFill/>
        </p:spPr>
        <p:txBody>
          <a:bodyPr wrap="none" lIns="36000" tIns="0" rIns="0" bIns="0" rtlCol="0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200" b="1" dirty="0">
                <a:solidFill>
                  <a:schemeClr val="bg2"/>
                </a:solidFill>
              </a:rPr>
              <a:t>comfort</a:t>
            </a:r>
            <a:endParaRPr lang="en-US" sz="1200" b="1" dirty="0">
              <a:solidFill>
                <a:schemeClr val="bg2"/>
              </a:solidFill>
            </a:endParaRPr>
          </a:p>
        </p:txBody>
      </p:sp>
      <p:pic>
        <p:nvPicPr>
          <p:cNvPr id="14" name="Graphic 1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 bwMode="gray">
          <a:xfrm>
            <a:off x="2351585" y="5002373"/>
            <a:ext cx="720439" cy="340095"/>
          </a:xfrm>
          <a:prstGeom prst="rect">
            <a:avLst/>
          </a:prstGeom>
        </p:spPr>
      </p:pic>
      <p:pic>
        <p:nvPicPr>
          <p:cNvPr id="15" name="Graphic 17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769191" y="4005065"/>
            <a:ext cx="690109" cy="431319"/>
          </a:xfrm>
          <a:prstGeom prst="rect">
            <a:avLst/>
          </a:prstGeom>
        </p:spPr>
      </p:pic>
      <p:pic>
        <p:nvPicPr>
          <p:cNvPr id="16" name="Graphic 3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 bwMode="gray">
          <a:xfrm>
            <a:off x="1409011" y="5072765"/>
            <a:ext cx="546373" cy="341483"/>
          </a:xfrm>
          <a:prstGeom prst="rect">
            <a:avLst/>
          </a:prstGeom>
        </p:spPr>
      </p:pic>
      <p:pic>
        <p:nvPicPr>
          <p:cNvPr id="17" name="Graphic 9"/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 bwMode="gray">
          <a:xfrm>
            <a:off x="9499561" y="2322586"/>
            <a:ext cx="523553" cy="386975"/>
          </a:xfrm>
          <a:prstGeom prst="rect">
            <a:avLst/>
          </a:prstGeom>
        </p:spPr>
      </p:pic>
      <p:pic>
        <p:nvPicPr>
          <p:cNvPr id="18" name="Graphic 36"/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 bwMode="gray">
          <a:xfrm>
            <a:off x="5113822" y="2600793"/>
            <a:ext cx="1057327" cy="517875"/>
          </a:xfrm>
          <a:prstGeom prst="rect">
            <a:avLst/>
          </a:prstGeom>
          <a:ln>
            <a:noFill/>
          </a:ln>
        </p:spPr>
      </p:pic>
      <p:pic>
        <p:nvPicPr>
          <p:cNvPr id="19" name="Graphic 58"/>
          <p:cNvPicPr>
            <a:picLocks noChangeAspect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1"/>
              </a:ext>
            </a:extLst>
          </a:blip>
          <a:stretch>
            <a:fillRect/>
          </a:stretch>
        </p:blipFill>
        <p:spPr bwMode="gray">
          <a:xfrm>
            <a:off x="3099221" y="4077074"/>
            <a:ext cx="479979" cy="500847"/>
          </a:xfrm>
          <a:prstGeom prst="rect">
            <a:avLst/>
          </a:prstGeom>
        </p:spPr>
      </p:pic>
      <p:pic>
        <p:nvPicPr>
          <p:cNvPr id="20" name="Graphic 133"/>
          <p:cNvPicPr>
            <a:picLocks noChangeAspect="1"/>
          </p:cNvPicPr>
          <p:nvPr/>
        </p:nvPicPr>
        <p:blipFill>
          <a:blip r:embed="rId52" cstate="print">
            <a:extLst>
              <a:ext uri="{BEBA8EAE-BF5A-486C-A8C5-ECC9F3942E4B}">
                <a14:imgProps xmlns:a14="http://schemas.microsoft.com/office/drawing/2010/main">
                  <a14:imgLayer r:embed="rId5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3"/>
              </a:ext>
            </a:extLst>
          </a:blip>
          <a:stretch>
            <a:fillRect/>
          </a:stretch>
        </p:blipFill>
        <p:spPr bwMode="gray">
          <a:xfrm>
            <a:off x="836751" y="5237618"/>
            <a:ext cx="233680" cy="516127"/>
          </a:xfrm>
          <a:prstGeom prst="rect">
            <a:avLst/>
          </a:prstGeom>
        </p:spPr>
      </p:pic>
      <p:pic>
        <p:nvPicPr>
          <p:cNvPr id="21" name="Graphic 46"/>
          <p:cNvPicPr>
            <a:picLocks noChangeAspect="1"/>
          </p:cNvPicPr>
          <p:nvPr/>
        </p:nvPicPr>
        <p:blipFill>
          <a:blip r:embed="rId5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 bwMode="gray">
          <a:xfrm>
            <a:off x="6849455" y="3525095"/>
            <a:ext cx="407931" cy="529207"/>
          </a:xfrm>
          <a:prstGeom prst="rect">
            <a:avLst/>
          </a:prstGeom>
        </p:spPr>
      </p:pic>
      <p:pic>
        <p:nvPicPr>
          <p:cNvPr id="22" name="Graphic 8"/>
          <p:cNvPicPr>
            <a:picLocks noChangeAspect="1"/>
          </p:cNvPicPr>
          <p:nvPr/>
        </p:nvPicPr>
        <p:blipFill>
          <a:blip r:embed="rId55" cstate="print">
            <a:extLst>
              <a:ext uri="{BEBA8EAE-BF5A-486C-A8C5-ECC9F3942E4B}">
                <a14:imgProps xmlns:a14="http://schemas.microsoft.com/office/drawing/2010/main">
                  <a14:imgLayer r:embed="rId5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7"/>
              </a:ext>
            </a:extLst>
          </a:blip>
          <a:stretch>
            <a:fillRect/>
          </a:stretch>
        </p:blipFill>
        <p:spPr bwMode="gray">
          <a:xfrm>
            <a:off x="7708321" y="2103490"/>
            <a:ext cx="807609" cy="273765"/>
          </a:xfrm>
          <a:prstGeom prst="rect">
            <a:avLst/>
          </a:prstGeom>
        </p:spPr>
      </p:pic>
      <p:pic>
        <p:nvPicPr>
          <p:cNvPr id="23" name="Graphic 35"/>
          <p:cNvPicPr>
            <a:picLocks noChangeAspect="1"/>
          </p:cNvPicPr>
          <p:nvPr/>
        </p:nvPicPr>
        <p:blipFill>
          <a:blip r:embed="rId58" cstate="print">
            <a:extLst>
              <a:ext uri="{BEBA8EAE-BF5A-486C-A8C5-ECC9F3942E4B}">
                <a14:imgProps xmlns:a14="http://schemas.microsoft.com/office/drawing/2010/main">
                  <a14:imgLayer r:embed="rId5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0"/>
              </a:ext>
            </a:extLst>
          </a:blip>
          <a:stretch>
            <a:fillRect/>
          </a:stretch>
        </p:blipFill>
        <p:spPr bwMode="gray">
          <a:xfrm>
            <a:off x="10301801" y="1614734"/>
            <a:ext cx="1155171" cy="360053"/>
          </a:xfrm>
          <a:prstGeom prst="rect">
            <a:avLst/>
          </a:prstGeom>
        </p:spPr>
      </p:pic>
      <p:pic>
        <p:nvPicPr>
          <p:cNvPr id="24" name="Bild 23"/>
          <p:cNvPicPr>
            <a:picLocks noChangeAspect="1"/>
          </p:cNvPicPr>
          <p:nvPr/>
        </p:nvPicPr>
        <p:blipFill>
          <a:blip r:embed="rId6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678" y="3899327"/>
            <a:ext cx="577476" cy="577476"/>
          </a:xfrm>
          <a:prstGeom prst="rect">
            <a:avLst/>
          </a:prstGeom>
        </p:spPr>
      </p:pic>
      <p:pic>
        <p:nvPicPr>
          <p:cNvPr id="25" name="Graphic 47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 bwMode="gray">
          <a:xfrm rot="729365">
            <a:off x="5986067" y="2362177"/>
            <a:ext cx="271184" cy="356823"/>
          </a:xfrm>
          <a:prstGeom prst="rect">
            <a:avLst/>
          </a:prstGeom>
        </p:spPr>
      </p:pic>
      <p:pic>
        <p:nvPicPr>
          <p:cNvPr id="26" name="Graphic 47"/>
          <p:cNvPicPr>
            <a:picLocks noChangeAspect="1"/>
          </p:cNvPicPr>
          <p:nvPr/>
        </p:nvPicPr>
        <p:blipFill>
          <a:blip r:embed="rId64" cstate="print">
            <a:extLst>
              <a:ext uri="{BEBA8EAE-BF5A-486C-A8C5-ECC9F3942E4B}">
                <a14:imgProps xmlns:a14="http://schemas.microsoft.com/office/drawing/2010/main">
                  <a14:imgLayer r:embed="rId6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 bwMode="gray">
          <a:xfrm rot="729365">
            <a:off x="8294874" y="1936223"/>
            <a:ext cx="172237" cy="226628"/>
          </a:xfrm>
          <a:prstGeom prst="rect">
            <a:avLst/>
          </a:prstGeom>
        </p:spPr>
      </p:pic>
      <p:pic>
        <p:nvPicPr>
          <p:cNvPr id="27" name="Graphic 47"/>
          <p:cNvPicPr>
            <a:picLocks noChangeAspect="1"/>
          </p:cNvPicPr>
          <p:nvPr/>
        </p:nvPicPr>
        <p:blipFill>
          <a:blip r:embed="rId64" cstate="print">
            <a:extLst>
              <a:ext uri="{BEBA8EAE-BF5A-486C-A8C5-ECC9F3942E4B}">
                <a14:imgProps xmlns:a14="http://schemas.microsoft.com/office/drawing/2010/main">
                  <a14:imgLayer r:embed="rId6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 bwMode="gray">
          <a:xfrm rot="729365">
            <a:off x="7203762" y="3361331"/>
            <a:ext cx="172237" cy="226628"/>
          </a:xfrm>
          <a:prstGeom prst="rect">
            <a:avLst/>
          </a:prstGeom>
        </p:spPr>
      </p:pic>
      <p:pic>
        <p:nvPicPr>
          <p:cNvPr id="28" name="Graphic 47"/>
          <p:cNvPicPr>
            <a:picLocks noChangeAspect="1"/>
          </p:cNvPicPr>
          <p:nvPr/>
        </p:nvPicPr>
        <p:blipFill>
          <a:blip r:embed="rId64" cstate="print">
            <a:extLst>
              <a:ext uri="{BEBA8EAE-BF5A-486C-A8C5-ECC9F3942E4B}">
                <a14:imgProps xmlns:a14="http://schemas.microsoft.com/office/drawing/2010/main">
                  <a14:imgLayer r:embed="rId6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 bwMode="gray">
          <a:xfrm rot="729365">
            <a:off x="5325768" y="4081411"/>
            <a:ext cx="172237" cy="226628"/>
          </a:xfrm>
          <a:prstGeom prst="rect">
            <a:avLst/>
          </a:prstGeom>
        </p:spPr>
      </p:pic>
      <p:pic>
        <p:nvPicPr>
          <p:cNvPr id="29" name="Bild 28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0139" y="1412776"/>
            <a:ext cx="237595" cy="237595"/>
          </a:xfrm>
          <a:prstGeom prst="rect">
            <a:avLst/>
          </a:prstGeom>
        </p:spPr>
      </p:pic>
      <p:sp>
        <p:nvSpPr>
          <p:cNvPr id="30" name="Bogen 29"/>
          <p:cNvSpPr/>
          <p:nvPr/>
        </p:nvSpPr>
        <p:spPr bwMode="gray">
          <a:xfrm>
            <a:off x="-816931" y="2970831"/>
            <a:ext cx="5116285" cy="5116285"/>
          </a:xfrm>
          <a:prstGeom prst="arc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Bogen 30"/>
          <p:cNvSpPr/>
          <p:nvPr/>
        </p:nvSpPr>
        <p:spPr bwMode="gray">
          <a:xfrm rot="20610935" flipH="1" flipV="1">
            <a:off x="9100694" y="-13714"/>
            <a:ext cx="3312060" cy="4680683"/>
          </a:xfrm>
          <a:prstGeom prst="arc">
            <a:avLst>
              <a:gd name="adj1" fmla="val 17392850"/>
              <a:gd name="adj2" fmla="val 2575328"/>
            </a:avLst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 bwMode="gray">
          <a:xfrm>
            <a:off x="10647651" y="2010249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Private Car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9307972" y="2736275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Taxi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extfeld 33"/>
          <p:cNvSpPr txBox="1"/>
          <p:nvPr/>
        </p:nvSpPr>
        <p:spPr bwMode="gray">
          <a:xfrm>
            <a:off x="7658761" y="2406206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Ride Hailing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extfeld 34"/>
          <p:cNvSpPr txBox="1"/>
          <p:nvPr/>
        </p:nvSpPr>
        <p:spPr bwMode="gray">
          <a:xfrm>
            <a:off x="6600056" y="4087347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ar Sharing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extfeld 35"/>
          <p:cNvSpPr txBox="1"/>
          <p:nvPr/>
        </p:nvSpPr>
        <p:spPr bwMode="gray">
          <a:xfrm>
            <a:off x="4613208" y="4501994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Scooter Sharing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extfeld 36"/>
          <p:cNvSpPr txBox="1"/>
          <p:nvPr/>
        </p:nvSpPr>
        <p:spPr bwMode="gray">
          <a:xfrm>
            <a:off x="5189272" y="3174357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200" b="1">
                <a:solidFill>
                  <a:schemeClr val="tx2"/>
                </a:solidFill>
              </a:rPr>
              <a:t>Ride Pooling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00227" y="5774643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Walking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extfeld 38"/>
          <p:cNvSpPr txBox="1"/>
          <p:nvPr/>
        </p:nvSpPr>
        <p:spPr bwMode="gray">
          <a:xfrm>
            <a:off x="1228832" y="5423875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Cycling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extfeld 39"/>
          <p:cNvSpPr txBox="1"/>
          <p:nvPr/>
        </p:nvSpPr>
        <p:spPr bwMode="gray">
          <a:xfrm>
            <a:off x="2260743" y="5360158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Bus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feld 40"/>
          <p:cNvSpPr txBox="1"/>
          <p:nvPr/>
        </p:nvSpPr>
        <p:spPr bwMode="gray">
          <a:xfrm>
            <a:off x="1660880" y="4459855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Tram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extfeld 41"/>
          <p:cNvSpPr txBox="1"/>
          <p:nvPr/>
        </p:nvSpPr>
        <p:spPr bwMode="gray">
          <a:xfrm>
            <a:off x="2885016" y="4589775"/>
            <a:ext cx="906728" cy="268764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Subway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Freihandform 42"/>
          <p:cNvSpPr/>
          <p:nvPr/>
        </p:nvSpPr>
        <p:spPr bwMode="gray">
          <a:xfrm>
            <a:off x="9632324" y="5578355"/>
            <a:ext cx="579019" cy="334575"/>
          </a:xfrm>
          <a:custGeom>
            <a:avLst/>
            <a:gdLst>
              <a:gd name="connsiteX0" fmla="*/ 1558842 w 5436157"/>
              <a:gd name="connsiteY0" fmla="*/ 565425 h 3550057"/>
              <a:gd name="connsiteX1" fmla="*/ 2837309 w 5436157"/>
              <a:gd name="connsiteY1" fmla="*/ 573891 h 3550057"/>
              <a:gd name="connsiteX2" fmla="*/ 3946442 w 5436157"/>
              <a:gd name="connsiteY2" fmla="*/ 116691 h 3550057"/>
              <a:gd name="connsiteX3" fmla="*/ 4683042 w 5436157"/>
              <a:gd name="connsiteY3" fmla="*/ 15091 h 3550057"/>
              <a:gd name="connsiteX4" fmla="*/ 5250309 w 5436157"/>
              <a:gd name="connsiteY4" fmla="*/ 370691 h 3550057"/>
              <a:gd name="connsiteX5" fmla="*/ 5411175 w 5436157"/>
              <a:gd name="connsiteY5" fmla="*/ 1183491 h 3550057"/>
              <a:gd name="connsiteX6" fmla="*/ 4784642 w 5436157"/>
              <a:gd name="connsiteY6" fmla="*/ 2665158 h 3550057"/>
              <a:gd name="connsiteX7" fmla="*/ 3040509 w 5436157"/>
              <a:gd name="connsiteY7" fmla="*/ 3418691 h 3550057"/>
              <a:gd name="connsiteX8" fmla="*/ 1169375 w 5436157"/>
              <a:gd name="connsiteY8" fmla="*/ 3494891 h 3550057"/>
              <a:gd name="connsiteX9" fmla="*/ 288842 w 5436157"/>
              <a:gd name="connsiteY9" fmla="*/ 2834491 h 3550057"/>
              <a:gd name="connsiteX10" fmla="*/ 975 w 5436157"/>
              <a:gd name="connsiteY10" fmla="*/ 1945491 h 3550057"/>
              <a:gd name="connsiteX11" fmla="*/ 221109 w 5436157"/>
              <a:gd name="connsiteY11" fmla="*/ 921025 h 3550057"/>
              <a:gd name="connsiteX12" fmla="*/ 864575 w 5436157"/>
              <a:gd name="connsiteY12" fmla="*/ 556958 h 3550057"/>
              <a:gd name="connsiteX13" fmla="*/ 1558842 w 5436157"/>
              <a:gd name="connsiteY13" fmla="*/ 565425 h 3550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36157" h="3550057">
                <a:moveTo>
                  <a:pt x="1558842" y="565425"/>
                </a:moveTo>
                <a:cubicBezTo>
                  <a:pt x="1887631" y="568247"/>
                  <a:pt x="2439376" y="648680"/>
                  <a:pt x="2837309" y="573891"/>
                </a:cubicBezTo>
                <a:cubicBezTo>
                  <a:pt x="3235242" y="499102"/>
                  <a:pt x="3638820" y="209824"/>
                  <a:pt x="3946442" y="116691"/>
                </a:cubicBezTo>
                <a:cubicBezTo>
                  <a:pt x="4254064" y="23558"/>
                  <a:pt x="4465731" y="-27242"/>
                  <a:pt x="4683042" y="15091"/>
                </a:cubicBezTo>
                <a:cubicBezTo>
                  <a:pt x="4900353" y="57424"/>
                  <a:pt x="5128954" y="175958"/>
                  <a:pt x="5250309" y="370691"/>
                </a:cubicBezTo>
                <a:cubicBezTo>
                  <a:pt x="5371664" y="565424"/>
                  <a:pt x="5488786" y="801080"/>
                  <a:pt x="5411175" y="1183491"/>
                </a:cubicBezTo>
                <a:cubicBezTo>
                  <a:pt x="5333564" y="1565902"/>
                  <a:pt x="5179753" y="2292625"/>
                  <a:pt x="4784642" y="2665158"/>
                </a:cubicBezTo>
                <a:cubicBezTo>
                  <a:pt x="4389531" y="3037691"/>
                  <a:pt x="3643053" y="3280402"/>
                  <a:pt x="3040509" y="3418691"/>
                </a:cubicBezTo>
                <a:cubicBezTo>
                  <a:pt x="2437965" y="3556980"/>
                  <a:pt x="1627986" y="3592258"/>
                  <a:pt x="1169375" y="3494891"/>
                </a:cubicBezTo>
                <a:cubicBezTo>
                  <a:pt x="710764" y="3397524"/>
                  <a:pt x="483575" y="3092724"/>
                  <a:pt x="288842" y="2834491"/>
                </a:cubicBezTo>
                <a:cubicBezTo>
                  <a:pt x="94109" y="2576258"/>
                  <a:pt x="12264" y="2264402"/>
                  <a:pt x="975" y="1945491"/>
                </a:cubicBezTo>
                <a:cubicBezTo>
                  <a:pt x="-10314" y="1626580"/>
                  <a:pt x="77176" y="1152447"/>
                  <a:pt x="221109" y="921025"/>
                </a:cubicBezTo>
                <a:cubicBezTo>
                  <a:pt x="365042" y="689603"/>
                  <a:pt x="648675" y="617636"/>
                  <a:pt x="864575" y="556958"/>
                </a:cubicBezTo>
                <a:cubicBezTo>
                  <a:pt x="1080475" y="496280"/>
                  <a:pt x="1230053" y="562603"/>
                  <a:pt x="1558842" y="565425"/>
                </a:cubicBezTo>
                <a:close/>
              </a:path>
            </a:pathLst>
          </a:custGeom>
          <a:solidFill>
            <a:schemeClr val="tx2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latin typeface="+mj-lt"/>
            </a:endParaRPr>
          </a:p>
        </p:txBody>
      </p:sp>
      <p:sp>
        <p:nvSpPr>
          <p:cNvPr id="44" name="Textfeld 43"/>
          <p:cNvSpPr txBox="1"/>
          <p:nvPr/>
        </p:nvSpPr>
        <p:spPr bwMode="gray">
          <a:xfrm>
            <a:off x="10188682" y="5662327"/>
            <a:ext cx="1379927" cy="225639"/>
          </a:xfrm>
          <a:prstGeom prst="rect">
            <a:avLst/>
          </a:prstGeom>
          <a:noFill/>
        </p:spPr>
        <p:txBody>
          <a:bodyPr wrap="none" lIns="36000" tIns="0" rIns="0" bIns="0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New Mobility Modes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4608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34372">
        <p:fade/>
      </p:transition>
    </mc:Choice>
    <mc:Fallback>
      <p:transition spd="med" advTm="34372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spc="-53" dirty="0" smtClean="0">
                <a:solidFill>
                  <a:schemeClr val="tx1"/>
                </a:solidFill>
              </a:rPr>
              <a:t>Ride </a:t>
            </a:r>
            <a:r>
              <a:rPr lang="de-DE" b="1" spc="-53" dirty="0">
                <a:solidFill>
                  <a:schemeClr val="tx1"/>
                </a:solidFill>
              </a:rPr>
              <a:t>Pooling will </a:t>
            </a:r>
            <a:r>
              <a:rPr lang="de-DE" b="1" spc="-53" dirty="0" err="1">
                <a:solidFill>
                  <a:schemeClr val="tx1"/>
                </a:solidFill>
              </a:rPr>
              <a:t>have</a:t>
            </a:r>
            <a:r>
              <a:rPr lang="de-DE" b="1" spc="-53" dirty="0">
                <a:solidFill>
                  <a:schemeClr val="tx1"/>
                </a:solidFill>
              </a:rPr>
              <a:t> </a:t>
            </a:r>
            <a:r>
              <a:rPr lang="de-DE" b="1" spc="-53" dirty="0" err="1">
                <a:solidFill>
                  <a:schemeClr val="tx1"/>
                </a:solidFill>
              </a:rPr>
              <a:t>the</a:t>
            </a:r>
            <a:r>
              <a:rPr lang="de-DE" b="1" spc="-53" dirty="0">
                <a:solidFill>
                  <a:schemeClr val="tx1"/>
                </a:solidFill>
              </a:rPr>
              <a:t> </a:t>
            </a:r>
            <a:r>
              <a:rPr lang="de-DE" b="1" spc="-53" dirty="0" err="1">
                <a:solidFill>
                  <a:schemeClr val="tx1"/>
                </a:solidFill>
              </a:rPr>
              <a:t>most</a:t>
            </a:r>
            <a:r>
              <a:rPr lang="de-DE" b="1" spc="-53" dirty="0">
                <a:solidFill>
                  <a:schemeClr val="tx1"/>
                </a:solidFill>
              </a:rPr>
              <a:t> </a:t>
            </a:r>
            <a:r>
              <a:rPr lang="de-DE" b="1" spc="-53" dirty="0" err="1">
                <a:solidFill>
                  <a:schemeClr val="tx1"/>
                </a:solidFill>
              </a:rPr>
              <a:t>siginificant</a:t>
            </a:r>
            <a:r>
              <a:rPr lang="de-DE" b="1" spc="-53" dirty="0">
                <a:solidFill>
                  <a:schemeClr val="tx1"/>
                </a:solidFill>
              </a:rPr>
              <a:t> </a:t>
            </a:r>
            <a:r>
              <a:rPr lang="de-DE" b="1" spc="-53" dirty="0" err="1">
                <a:solidFill>
                  <a:schemeClr val="tx1"/>
                </a:solidFill>
              </a:rPr>
              <a:t>relieving</a:t>
            </a:r>
            <a:r>
              <a:rPr lang="de-DE" b="1" spc="-53" dirty="0">
                <a:solidFill>
                  <a:schemeClr val="tx1"/>
                </a:solidFill>
              </a:rPr>
              <a:t> </a:t>
            </a:r>
            <a:r>
              <a:rPr lang="de-DE" b="1" spc="-53" dirty="0" err="1">
                <a:solidFill>
                  <a:schemeClr val="tx1"/>
                </a:solidFill>
              </a:rPr>
              <a:t>effects</a:t>
            </a:r>
            <a:r>
              <a:rPr lang="de-DE" b="1" spc="-53" dirty="0">
                <a:solidFill>
                  <a:schemeClr val="tx1"/>
                </a:solidFill>
              </a:rPr>
              <a:t> on urban </a:t>
            </a:r>
            <a:r>
              <a:rPr lang="de-DE" b="1" spc="-53" dirty="0" err="1">
                <a:solidFill>
                  <a:schemeClr val="tx1"/>
                </a:solidFill>
              </a:rPr>
              <a:t>mobility</a:t>
            </a:r>
            <a:r>
              <a:rPr lang="de-DE" b="1" spc="-53" dirty="0">
                <a:solidFill>
                  <a:schemeClr val="tx1"/>
                </a:solidFill>
              </a:rPr>
              <a:t>.</a:t>
            </a:r>
            <a:endParaRPr lang="en-US" b="1" spc="-53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smtClean="0">
                <a:solidFill>
                  <a:srgbClr val="0A2737"/>
                </a:solidFill>
              </a:rPr>
              <a:pPr/>
              <a:t>6</a:t>
            </a:fld>
            <a:endParaRPr lang="en-US" dirty="0">
              <a:solidFill>
                <a:srgbClr val="0A2737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4" name="Textfeld 33"/>
          <p:cNvSpPr txBox="1"/>
          <p:nvPr/>
        </p:nvSpPr>
        <p:spPr bwMode="gray">
          <a:xfrm>
            <a:off x="2962420" y="1896725"/>
            <a:ext cx="914400" cy="914400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marL="215995" indent="-215995">
              <a:buClr>
                <a:srgbClr val="0A2737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rgbClr val="0A2737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gray">
          <a:xfrm>
            <a:off x="10081549" y="-544011"/>
            <a:ext cx="914400" cy="914400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marL="215995" indent="-215995">
              <a:buClr>
                <a:srgbClr val="0A2737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rgbClr val="0A2737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 rotWithShape="1"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449" t="10316" r="34665"/>
          <a:stretch/>
        </p:blipFill>
        <p:spPr>
          <a:xfrm>
            <a:off x="607523" y="2510344"/>
            <a:ext cx="5328508" cy="3486752"/>
          </a:xfrm>
          <a:prstGeom prst="rect">
            <a:avLst/>
          </a:prstGeom>
        </p:spPr>
      </p:pic>
      <p:sp>
        <p:nvSpPr>
          <p:cNvPr id="40" name="Textfeld 39"/>
          <p:cNvSpPr txBox="1"/>
          <p:nvPr/>
        </p:nvSpPr>
        <p:spPr bwMode="gray">
          <a:xfrm>
            <a:off x="607525" y="2099259"/>
            <a:ext cx="5344015" cy="279863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algn="ctr">
              <a:buClr>
                <a:srgbClr val="0A2737"/>
              </a:buClr>
            </a:pPr>
            <a:r>
              <a:rPr lang="en-US" sz="1200" b="1" dirty="0">
                <a:solidFill>
                  <a:srgbClr val="0A2737"/>
                </a:solidFill>
              </a:rPr>
              <a:t>TRADITIONAL CAR USAGE</a:t>
            </a:r>
            <a:endParaRPr lang="en-US" sz="1200" b="1" dirty="0">
              <a:solidFill>
                <a:srgbClr val="0A2737"/>
              </a:solidFill>
            </a:endParaRPr>
          </a:p>
        </p:txBody>
      </p:sp>
      <p:cxnSp>
        <p:nvCxnSpPr>
          <p:cNvPr id="26" name="Gerade Verbindung 25"/>
          <p:cNvCxnSpPr/>
          <p:nvPr/>
        </p:nvCxnSpPr>
        <p:spPr bwMode="gray">
          <a:xfrm>
            <a:off x="6096000" y="2097089"/>
            <a:ext cx="0" cy="388778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 bwMode="gray">
          <a:xfrm>
            <a:off x="6255970" y="2110834"/>
            <a:ext cx="5344015" cy="279863"/>
          </a:xfrm>
          <a:prstGeom prst="rect">
            <a:avLst/>
          </a:prstGeom>
          <a:noFill/>
        </p:spPr>
        <p:txBody>
          <a:bodyPr wrap="none" lIns="72000" tIns="0" rIns="0" bIns="0" rtlCol="0">
            <a:noAutofit/>
          </a:bodyPr>
          <a:lstStyle/>
          <a:p>
            <a:pPr algn="ctr">
              <a:buClr>
                <a:srgbClr val="0A2737"/>
              </a:buClr>
            </a:pPr>
            <a:r>
              <a:rPr lang="en-US" sz="1200" b="1" dirty="0">
                <a:solidFill>
                  <a:srgbClr val="0A2737"/>
                </a:solidFill>
              </a:rPr>
              <a:t>MOIA </a:t>
            </a:r>
            <a:r>
              <a:rPr lang="en-US" sz="1200" b="1" dirty="0">
                <a:solidFill>
                  <a:srgbClr val="0A2737"/>
                </a:solidFill>
              </a:rPr>
              <a:t>ON-DEMAND </a:t>
            </a:r>
            <a:r>
              <a:rPr lang="en-US" sz="1200" b="1" dirty="0">
                <a:solidFill>
                  <a:srgbClr val="0A2737"/>
                </a:solidFill>
              </a:rPr>
              <a:t>RIDE POOLING</a:t>
            </a:r>
          </a:p>
        </p:txBody>
      </p:sp>
      <p:cxnSp>
        <p:nvCxnSpPr>
          <p:cNvPr id="48" name="Gerade Verbindung 47"/>
          <p:cNvCxnSpPr/>
          <p:nvPr/>
        </p:nvCxnSpPr>
        <p:spPr bwMode="gray">
          <a:xfrm>
            <a:off x="607523" y="2330775"/>
            <a:ext cx="109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Bild 41"/>
          <p:cNvPicPr>
            <a:picLocks noChangeAspect="1"/>
          </p:cNvPicPr>
          <p:nvPr/>
        </p:nvPicPr>
        <p:blipFill rotWithShape="1"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449" t="10316" r="34665"/>
          <a:stretch/>
        </p:blipFill>
        <p:spPr>
          <a:xfrm>
            <a:off x="6255970" y="2492896"/>
            <a:ext cx="5328508" cy="3486752"/>
          </a:xfrm>
          <a:prstGeom prst="rect">
            <a:avLst/>
          </a:prstGeom>
        </p:spPr>
      </p:pic>
      <p:sp>
        <p:nvSpPr>
          <p:cNvPr id="3" name="Freihandform 2"/>
          <p:cNvSpPr/>
          <p:nvPr/>
        </p:nvSpPr>
        <p:spPr bwMode="gray">
          <a:xfrm>
            <a:off x="1179370" y="3454978"/>
            <a:ext cx="1839191" cy="2208068"/>
          </a:xfrm>
          <a:custGeom>
            <a:avLst/>
            <a:gdLst>
              <a:gd name="connsiteX0" fmla="*/ 0 w 1839191"/>
              <a:gd name="connsiteY0" fmla="*/ 2208068 h 2208068"/>
              <a:gd name="connsiteX1" fmla="*/ 1615787 w 1839191"/>
              <a:gd name="connsiteY1" fmla="*/ 1662546 h 2208068"/>
              <a:gd name="connsiteX2" fmla="*/ 1574223 w 1839191"/>
              <a:gd name="connsiteY2" fmla="*/ 5196 h 2208068"/>
              <a:gd name="connsiteX3" fmla="*/ 1839191 w 1839191"/>
              <a:gd name="connsiteY3" fmla="*/ 0 h 2208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9191" h="2208068">
                <a:moveTo>
                  <a:pt x="0" y="2208068"/>
                </a:moveTo>
                <a:lnTo>
                  <a:pt x="1615787" y="1662546"/>
                </a:lnTo>
                <a:lnTo>
                  <a:pt x="1574223" y="5196"/>
                </a:lnTo>
                <a:lnTo>
                  <a:pt x="1839191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reihandform 5"/>
          <p:cNvSpPr/>
          <p:nvPr/>
        </p:nvSpPr>
        <p:spPr bwMode="gray">
          <a:xfrm>
            <a:off x="2389909" y="3060124"/>
            <a:ext cx="1444336" cy="1953491"/>
          </a:xfrm>
          <a:custGeom>
            <a:avLst/>
            <a:gdLst>
              <a:gd name="connsiteX0" fmla="*/ 0 w 1444336"/>
              <a:gd name="connsiteY0" fmla="*/ 1953491 h 1953491"/>
              <a:gd name="connsiteX1" fmla="*/ 394855 w 1444336"/>
              <a:gd name="connsiteY1" fmla="*/ 1948295 h 1953491"/>
              <a:gd name="connsiteX2" fmla="*/ 348096 w 1444336"/>
              <a:gd name="connsiteY2" fmla="*/ 20782 h 1953491"/>
              <a:gd name="connsiteX3" fmla="*/ 1444336 w 1444336"/>
              <a:gd name="connsiteY3" fmla="*/ 0 h 1953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4336" h="1953491">
                <a:moveTo>
                  <a:pt x="0" y="1953491"/>
                </a:moveTo>
                <a:lnTo>
                  <a:pt x="394855" y="1948295"/>
                </a:lnTo>
                <a:lnTo>
                  <a:pt x="348096" y="20782"/>
                </a:lnTo>
                <a:lnTo>
                  <a:pt x="1444336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3" name="Oval 42"/>
          <p:cNvSpPr/>
          <p:nvPr/>
        </p:nvSpPr>
        <p:spPr bwMode="gray">
          <a:xfrm>
            <a:off x="1081997" y="5577552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49" name="Oval 48"/>
          <p:cNvSpPr/>
          <p:nvPr/>
        </p:nvSpPr>
        <p:spPr bwMode="gray">
          <a:xfrm>
            <a:off x="2922923" y="3365835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7" name="Freihandform 6"/>
          <p:cNvSpPr/>
          <p:nvPr/>
        </p:nvSpPr>
        <p:spPr bwMode="gray">
          <a:xfrm>
            <a:off x="2748395" y="3465368"/>
            <a:ext cx="46760" cy="1543051"/>
          </a:xfrm>
          <a:custGeom>
            <a:avLst/>
            <a:gdLst>
              <a:gd name="connsiteX0" fmla="*/ 46760 w 46760"/>
              <a:gd name="connsiteY0" fmla="*/ 1543050 h 1543050"/>
              <a:gd name="connsiteX1" fmla="*/ 0 w 46760"/>
              <a:gd name="connsiteY1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760" h="1543050">
                <a:moveTo>
                  <a:pt x="46760" y="154305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reihandform 10"/>
          <p:cNvSpPr/>
          <p:nvPr/>
        </p:nvSpPr>
        <p:spPr bwMode="gray">
          <a:xfrm>
            <a:off x="1428752" y="2665269"/>
            <a:ext cx="2395105" cy="2566555"/>
          </a:xfrm>
          <a:custGeom>
            <a:avLst/>
            <a:gdLst>
              <a:gd name="connsiteX0" fmla="*/ 0 w 2395105"/>
              <a:gd name="connsiteY0" fmla="*/ 2561359 h 2566555"/>
              <a:gd name="connsiteX1" fmla="*/ 280555 w 2395105"/>
              <a:gd name="connsiteY1" fmla="*/ 2566555 h 2566555"/>
              <a:gd name="connsiteX2" fmla="*/ 270164 w 2395105"/>
              <a:gd name="connsiteY2" fmla="*/ 2358737 h 2566555"/>
              <a:gd name="connsiteX3" fmla="*/ 1361209 w 2395105"/>
              <a:gd name="connsiteY3" fmla="*/ 2343150 h 2566555"/>
              <a:gd name="connsiteX4" fmla="*/ 1309255 w 2395105"/>
              <a:gd name="connsiteY4" fmla="*/ 420832 h 2566555"/>
              <a:gd name="connsiteX5" fmla="*/ 2395105 w 2395105"/>
              <a:gd name="connsiteY5" fmla="*/ 389659 h 2566555"/>
              <a:gd name="connsiteX6" fmla="*/ 2395105 w 2395105"/>
              <a:gd name="connsiteY6" fmla="*/ 0 h 2566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5105" h="2566555">
                <a:moveTo>
                  <a:pt x="0" y="2561359"/>
                </a:moveTo>
                <a:lnTo>
                  <a:pt x="280555" y="2566555"/>
                </a:lnTo>
                <a:lnTo>
                  <a:pt x="270164" y="2358737"/>
                </a:lnTo>
                <a:lnTo>
                  <a:pt x="1361209" y="2343150"/>
                </a:lnTo>
                <a:lnTo>
                  <a:pt x="1309255" y="420832"/>
                </a:lnTo>
                <a:lnTo>
                  <a:pt x="2395105" y="389659"/>
                </a:lnTo>
                <a:lnTo>
                  <a:pt x="2395105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Oval 43"/>
          <p:cNvSpPr/>
          <p:nvPr/>
        </p:nvSpPr>
        <p:spPr bwMode="gray">
          <a:xfrm>
            <a:off x="1338307" y="5137671"/>
            <a:ext cx="180000" cy="1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47" name="Oval 46"/>
          <p:cNvSpPr/>
          <p:nvPr/>
        </p:nvSpPr>
        <p:spPr bwMode="gray">
          <a:xfrm>
            <a:off x="3736876" y="2583988"/>
            <a:ext cx="180000" cy="1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12" name="Freihandform 11"/>
          <p:cNvSpPr/>
          <p:nvPr/>
        </p:nvSpPr>
        <p:spPr bwMode="gray">
          <a:xfrm>
            <a:off x="2389910" y="3065319"/>
            <a:ext cx="1439141" cy="1953491"/>
          </a:xfrm>
          <a:custGeom>
            <a:avLst/>
            <a:gdLst>
              <a:gd name="connsiteX0" fmla="*/ 0 w 1439141"/>
              <a:gd name="connsiteY0" fmla="*/ 1953491 h 1953491"/>
              <a:gd name="connsiteX1" fmla="*/ 400050 w 1439141"/>
              <a:gd name="connsiteY1" fmla="*/ 1937905 h 1953491"/>
              <a:gd name="connsiteX2" fmla="*/ 353291 w 1439141"/>
              <a:gd name="connsiteY2" fmla="*/ 20782 h 1953491"/>
              <a:gd name="connsiteX3" fmla="*/ 1439141 w 1439141"/>
              <a:gd name="connsiteY3" fmla="*/ 0 h 1953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9141" h="1953491">
                <a:moveTo>
                  <a:pt x="0" y="1953491"/>
                </a:moveTo>
                <a:lnTo>
                  <a:pt x="400050" y="1937905"/>
                </a:lnTo>
                <a:lnTo>
                  <a:pt x="353291" y="20782"/>
                </a:lnTo>
                <a:lnTo>
                  <a:pt x="1439141" y="0"/>
                </a:lnTo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6" name="Oval 45"/>
          <p:cNvSpPr/>
          <p:nvPr/>
        </p:nvSpPr>
        <p:spPr bwMode="gray">
          <a:xfrm>
            <a:off x="3736876" y="2971400"/>
            <a:ext cx="180000" cy="180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45" name="Oval 44"/>
          <p:cNvSpPr/>
          <p:nvPr/>
        </p:nvSpPr>
        <p:spPr bwMode="gray">
          <a:xfrm>
            <a:off x="2296003" y="4923347"/>
            <a:ext cx="180000" cy="180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14" name="Freihandform 13"/>
          <p:cNvSpPr/>
          <p:nvPr/>
        </p:nvSpPr>
        <p:spPr bwMode="gray">
          <a:xfrm>
            <a:off x="6801695" y="2671129"/>
            <a:ext cx="2680139" cy="2995448"/>
          </a:xfrm>
          <a:custGeom>
            <a:avLst/>
            <a:gdLst>
              <a:gd name="connsiteX0" fmla="*/ 22522 w 2680138"/>
              <a:gd name="connsiteY0" fmla="*/ 2995448 h 2995448"/>
              <a:gd name="connsiteX1" fmla="*/ 0 w 2680138"/>
              <a:gd name="connsiteY1" fmla="*/ 2567527 h 2995448"/>
              <a:gd name="connsiteX2" fmla="*/ 270266 w 2680138"/>
              <a:gd name="connsiteY2" fmla="*/ 2563023 h 2995448"/>
              <a:gd name="connsiteX3" fmla="*/ 270266 w 2680138"/>
              <a:gd name="connsiteY3" fmla="*/ 2364828 h 2995448"/>
              <a:gd name="connsiteX4" fmla="*/ 1234214 w 2680138"/>
              <a:gd name="connsiteY4" fmla="*/ 2346810 h 2995448"/>
              <a:gd name="connsiteX5" fmla="*/ 1630605 w 2680138"/>
              <a:gd name="connsiteY5" fmla="*/ 2351314 h 2995448"/>
              <a:gd name="connsiteX6" fmla="*/ 1599073 w 2680138"/>
              <a:gd name="connsiteY6" fmla="*/ 801789 h 2995448"/>
              <a:gd name="connsiteX7" fmla="*/ 2680138 w 2680138"/>
              <a:gd name="connsiteY7" fmla="*/ 774763 h 2995448"/>
              <a:gd name="connsiteX8" fmla="*/ 2671129 w 2680138"/>
              <a:gd name="connsiteY8" fmla="*/ 0 h 2995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0138" h="2995448">
                <a:moveTo>
                  <a:pt x="22522" y="2995448"/>
                </a:moveTo>
                <a:lnTo>
                  <a:pt x="0" y="2567527"/>
                </a:lnTo>
                <a:lnTo>
                  <a:pt x="270266" y="2563023"/>
                </a:lnTo>
                <a:lnTo>
                  <a:pt x="270266" y="2364828"/>
                </a:lnTo>
                <a:lnTo>
                  <a:pt x="1234214" y="2346810"/>
                </a:lnTo>
                <a:lnTo>
                  <a:pt x="1630605" y="2351314"/>
                </a:lnTo>
                <a:lnTo>
                  <a:pt x="1599073" y="801789"/>
                </a:lnTo>
                <a:lnTo>
                  <a:pt x="2680138" y="774763"/>
                </a:lnTo>
                <a:lnTo>
                  <a:pt x="2671129" y="0"/>
                </a:lnTo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7" name="Oval 56"/>
          <p:cNvSpPr/>
          <p:nvPr/>
        </p:nvSpPr>
        <p:spPr bwMode="gray">
          <a:xfrm>
            <a:off x="8570189" y="3365835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58" name="Oval 57"/>
          <p:cNvSpPr/>
          <p:nvPr/>
        </p:nvSpPr>
        <p:spPr bwMode="gray">
          <a:xfrm>
            <a:off x="6985575" y="5137671"/>
            <a:ext cx="180000" cy="1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60" name="Oval 59"/>
          <p:cNvSpPr/>
          <p:nvPr/>
        </p:nvSpPr>
        <p:spPr bwMode="gray">
          <a:xfrm>
            <a:off x="9384143" y="2971400"/>
            <a:ext cx="180000" cy="180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61" name="Oval 60"/>
          <p:cNvSpPr/>
          <p:nvPr/>
        </p:nvSpPr>
        <p:spPr bwMode="gray">
          <a:xfrm>
            <a:off x="7943271" y="4923347"/>
            <a:ext cx="180000" cy="180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5">
            <a:biLevel thresh="75000"/>
          </a:blip>
          <a:stretch>
            <a:fillRect/>
          </a:stretch>
        </p:blipFill>
        <p:spPr>
          <a:xfrm>
            <a:off x="1006387" y="5733257"/>
            <a:ext cx="504731" cy="236257"/>
          </a:xfrm>
          <a:prstGeom prst="rect">
            <a:avLst/>
          </a:prstGeom>
        </p:spPr>
      </p:pic>
      <p:pic>
        <p:nvPicPr>
          <p:cNvPr id="52" name="Bild 51"/>
          <p:cNvPicPr>
            <a:picLocks noChangeAspect="1"/>
          </p:cNvPicPr>
          <p:nvPr/>
        </p:nvPicPr>
        <p:blipFill>
          <a:blip r:embed="rId5">
            <a:biLevel thresh="75000"/>
          </a:blip>
          <a:stretch>
            <a:fillRect/>
          </a:stretch>
        </p:blipFill>
        <p:spPr>
          <a:xfrm>
            <a:off x="802367" y="5047145"/>
            <a:ext cx="504731" cy="236257"/>
          </a:xfrm>
          <a:prstGeom prst="rect">
            <a:avLst/>
          </a:prstGeom>
        </p:spPr>
      </p:pic>
      <p:pic>
        <p:nvPicPr>
          <p:cNvPr id="53" name="Bild 52"/>
          <p:cNvPicPr>
            <a:picLocks noChangeAspect="1"/>
          </p:cNvPicPr>
          <p:nvPr/>
        </p:nvPicPr>
        <p:blipFill>
          <a:blip r:embed="rId5">
            <a:biLevel thresh="75000"/>
          </a:blip>
          <a:stretch>
            <a:fillRect/>
          </a:stretch>
        </p:blipFill>
        <p:spPr>
          <a:xfrm>
            <a:off x="2047003" y="4680721"/>
            <a:ext cx="504731" cy="236257"/>
          </a:xfrm>
          <a:prstGeom prst="rect">
            <a:avLst/>
          </a:prstGeom>
        </p:spPr>
      </p:pic>
      <p:pic>
        <p:nvPicPr>
          <p:cNvPr id="62" name="Bild 61"/>
          <p:cNvPicPr>
            <a:picLocks noChangeAspect="1"/>
          </p:cNvPicPr>
          <p:nvPr/>
        </p:nvPicPr>
        <p:blipFill rotWithShape="1">
          <a:blip r:embed="rId5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152"/>
          <a:stretch/>
        </p:blipFill>
        <p:spPr>
          <a:xfrm>
            <a:off x="3961162" y="2504378"/>
            <a:ext cx="327311" cy="236257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/>
        </p:nvPicPr>
        <p:blipFill>
          <a:blip r:embed="rId6">
            <a:biLevel thresh="75000"/>
          </a:blip>
          <a:stretch>
            <a:fillRect/>
          </a:stretch>
        </p:blipFill>
        <p:spPr>
          <a:xfrm flipH="1">
            <a:off x="7364588" y="5619449"/>
            <a:ext cx="402809" cy="268539"/>
          </a:xfrm>
          <a:prstGeom prst="rect">
            <a:avLst/>
          </a:prstGeom>
        </p:spPr>
      </p:pic>
      <p:sp>
        <p:nvSpPr>
          <p:cNvPr id="15" name="Freihandform 14"/>
          <p:cNvSpPr/>
          <p:nvPr/>
        </p:nvSpPr>
        <p:spPr bwMode="gray">
          <a:xfrm>
            <a:off x="6819900" y="5661026"/>
            <a:ext cx="542925" cy="149225"/>
          </a:xfrm>
          <a:custGeom>
            <a:avLst/>
            <a:gdLst>
              <a:gd name="connsiteX0" fmla="*/ 0 w 542925"/>
              <a:gd name="connsiteY0" fmla="*/ 0 h 149225"/>
              <a:gd name="connsiteX1" fmla="*/ 0 w 542925"/>
              <a:gd name="connsiteY1" fmla="*/ 149225 h 149225"/>
              <a:gd name="connsiteX2" fmla="*/ 542925 w 542925"/>
              <a:gd name="connsiteY2" fmla="*/ 149225 h 149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925" h="149225">
                <a:moveTo>
                  <a:pt x="0" y="0"/>
                </a:moveTo>
                <a:lnTo>
                  <a:pt x="0" y="149225"/>
                </a:lnTo>
                <a:lnTo>
                  <a:pt x="542925" y="149225"/>
                </a:lnTo>
              </a:path>
            </a:pathLst>
          </a:cu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Oval 55"/>
          <p:cNvSpPr/>
          <p:nvPr/>
        </p:nvSpPr>
        <p:spPr bwMode="gray">
          <a:xfrm>
            <a:off x="6729387" y="5588583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16" name="Freihandform 15"/>
          <p:cNvSpPr/>
          <p:nvPr/>
        </p:nvSpPr>
        <p:spPr bwMode="gray">
          <a:xfrm>
            <a:off x="9474200" y="2657475"/>
            <a:ext cx="1162051" cy="6351"/>
          </a:xfrm>
          <a:custGeom>
            <a:avLst/>
            <a:gdLst>
              <a:gd name="connsiteX0" fmla="*/ 0 w 1162050"/>
              <a:gd name="connsiteY0" fmla="*/ 6350 h 6350"/>
              <a:gd name="connsiteX1" fmla="*/ 1162050 w 1162050"/>
              <a:gd name="connsiteY1" fmla="*/ 0 h 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2050" h="6350">
                <a:moveTo>
                  <a:pt x="0" y="6350"/>
                </a:moveTo>
                <a:lnTo>
                  <a:pt x="1162050" y="0"/>
                </a:lnTo>
              </a:path>
            </a:pathLst>
          </a:custGeom>
          <a:noFill/>
          <a:ln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9" name="Oval 58"/>
          <p:cNvSpPr/>
          <p:nvPr/>
        </p:nvSpPr>
        <p:spPr bwMode="gray">
          <a:xfrm>
            <a:off x="9384143" y="2583988"/>
            <a:ext cx="180000" cy="1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cap="all" spc="300" dirty="0" err="1">
              <a:solidFill>
                <a:srgbClr val="FFFFFF"/>
              </a:solidFill>
              <a:latin typeface="Arial Black"/>
            </a:endParaRPr>
          </a:p>
        </p:txBody>
      </p:sp>
      <p:pic>
        <p:nvPicPr>
          <p:cNvPr id="68" name="Bild 67"/>
          <p:cNvPicPr>
            <a:picLocks noChangeAspect="1"/>
          </p:cNvPicPr>
          <p:nvPr/>
        </p:nvPicPr>
        <p:blipFill>
          <a:blip r:embed="rId6">
            <a:biLevel thresh="75000"/>
          </a:blip>
          <a:stretch>
            <a:fillRect/>
          </a:stretch>
        </p:blipFill>
        <p:spPr>
          <a:xfrm>
            <a:off x="10848529" y="2484705"/>
            <a:ext cx="402809" cy="268539"/>
          </a:xfrm>
          <a:prstGeom prst="rect">
            <a:avLst/>
          </a:prstGeom>
        </p:spPr>
      </p:pic>
      <p:pic>
        <p:nvPicPr>
          <p:cNvPr id="69" name="Bild 68"/>
          <p:cNvPicPr>
            <a:picLocks noChangeAspect="1"/>
          </p:cNvPicPr>
          <p:nvPr/>
        </p:nvPicPr>
        <p:blipFill rotWithShape="1">
          <a:blip r:embed="rId5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152"/>
          <a:stretch/>
        </p:blipFill>
        <p:spPr>
          <a:xfrm>
            <a:off x="3970910" y="2897473"/>
            <a:ext cx="327311" cy="236257"/>
          </a:xfrm>
          <a:prstGeom prst="rect">
            <a:avLst/>
          </a:prstGeom>
        </p:spPr>
      </p:pic>
      <p:pic>
        <p:nvPicPr>
          <p:cNvPr id="70" name="Bild 69"/>
          <p:cNvPicPr>
            <a:picLocks noChangeAspect="1"/>
          </p:cNvPicPr>
          <p:nvPr/>
        </p:nvPicPr>
        <p:blipFill rotWithShape="1">
          <a:blip r:embed="rId5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152"/>
          <a:stretch/>
        </p:blipFill>
        <p:spPr>
          <a:xfrm>
            <a:off x="3152698" y="3302773"/>
            <a:ext cx="327311" cy="236257"/>
          </a:xfrm>
          <a:prstGeom prst="rect">
            <a:avLst/>
          </a:prstGeom>
        </p:spPr>
      </p:pic>
      <p:grpSp>
        <p:nvGrpSpPr>
          <p:cNvPr id="19" name="Gruppierung 18"/>
          <p:cNvGrpSpPr/>
          <p:nvPr/>
        </p:nvGrpSpPr>
        <p:grpSpPr>
          <a:xfrm>
            <a:off x="10670952" y="2626139"/>
            <a:ext cx="142875" cy="55389"/>
            <a:chOff x="10690225" y="2149475"/>
            <a:chExt cx="142875" cy="55389"/>
          </a:xfrm>
        </p:grpSpPr>
        <p:cxnSp>
          <p:nvCxnSpPr>
            <p:cNvPr id="18" name="Gerade Verbindung 17"/>
            <p:cNvCxnSpPr/>
            <p:nvPr/>
          </p:nvCxnSpPr>
          <p:spPr bwMode="gray">
            <a:xfrm>
              <a:off x="10690225" y="2149475"/>
              <a:ext cx="142875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10761100" y="2204864"/>
              <a:ext cx="7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10725100" y="217717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ung 19"/>
          <p:cNvGrpSpPr/>
          <p:nvPr/>
        </p:nvGrpSpPr>
        <p:grpSpPr>
          <a:xfrm>
            <a:off x="7802065" y="5749588"/>
            <a:ext cx="142875" cy="55389"/>
            <a:chOff x="0" y="5564059"/>
            <a:chExt cx="142875" cy="55389"/>
          </a:xfrm>
        </p:grpSpPr>
        <p:cxnSp>
          <p:nvCxnSpPr>
            <p:cNvPr id="77" name="Gerade Verbindung 76"/>
            <p:cNvCxnSpPr/>
            <p:nvPr/>
          </p:nvCxnSpPr>
          <p:spPr bwMode="gray">
            <a:xfrm>
              <a:off x="0" y="5564059"/>
              <a:ext cx="142875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0" y="5619448"/>
              <a:ext cx="7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/>
          </p:nvCxnSpPr>
          <p:spPr bwMode="gray">
            <a:xfrm>
              <a:off x="0" y="5591754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500893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76371">
        <p:fade/>
      </p:transition>
    </mc:Choice>
    <mc:Fallback>
      <p:transition spd="med" advTm="76371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/>
          <p:nvPr/>
        </p:nvSpPr>
        <p:spPr>
          <a:xfrm>
            <a:off x="3833227" y="6106355"/>
            <a:ext cx="4285547" cy="14596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algn="ctr">
              <a:lnSpc>
                <a:spcPct val="90000"/>
              </a:lnSpc>
              <a:defRPr sz="1500" cap="all" spc="-18">
                <a:solidFill>
                  <a:srgbClr val="FFFFFF"/>
                </a:solidFill>
                <a:latin typeface="MarkPro-Book"/>
                <a:ea typeface="MarkPro-Book"/>
                <a:cs typeface="MarkPro-Book"/>
                <a:sym typeface="MarkPro-Book"/>
              </a:defRPr>
            </a:lvl1pPr>
          </a:lstStyle>
          <a:p>
            <a:r>
              <a:rPr sz="2000"/>
              <a:t>PLACEHOLDER</a:t>
            </a:r>
          </a:p>
        </p:txBody>
      </p:sp>
      <p:pic>
        <p:nvPicPr>
          <p:cNvPr id="374" name="patricia-jekki-190634-small.jp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6711" y="-313611"/>
            <a:ext cx="12385421" cy="8257956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79" name="Group 379"/>
          <p:cNvGrpSpPr/>
          <p:nvPr/>
        </p:nvGrpSpPr>
        <p:grpSpPr>
          <a:xfrm>
            <a:off x="1196671" y="1230488"/>
            <a:ext cx="2813525" cy="4397024"/>
            <a:chOff x="0" y="0"/>
            <a:chExt cx="2110143" cy="3297766"/>
          </a:xfrm>
        </p:grpSpPr>
        <p:sp>
          <p:nvSpPr>
            <p:cNvPr id="375" name="Shape 375"/>
            <p:cNvSpPr/>
            <p:nvPr/>
          </p:nvSpPr>
          <p:spPr>
            <a:xfrm>
              <a:off x="0" y="0"/>
              <a:ext cx="2110144" cy="3297767"/>
            </a:xfrm>
            <a:prstGeom prst="roundRect">
              <a:avLst>
                <a:gd name="adj" fmla="val 9813"/>
              </a:avLst>
            </a:prstGeom>
            <a:solidFill>
              <a:srgbClr val="000000">
                <a:alpha val="78000"/>
              </a:srgbClr>
            </a:solidFill>
            <a:ln w="38100" cap="flat">
              <a:solidFill>
                <a:srgbClr val="FFFFFF">
                  <a:alpha val="78000"/>
                </a:srgbClr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376" name="Shape 376"/>
            <p:cNvSpPr/>
            <p:nvPr/>
          </p:nvSpPr>
          <p:spPr>
            <a:xfrm>
              <a:off x="95169" y="150937"/>
              <a:ext cx="1894405" cy="18722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rmAutofit/>
            </a:bodyPr>
            <a:lstStyle/>
            <a:p>
              <a:pPr algn="ctr">
                <a:lnSpc>
                  <a:spcPct val="90000"/>
                </a:lnSpc>
                <a:defRPr sz="6500" cap="all" spc="-81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8666">
                  <a:latin typeface="MarkPro-Heavy"/>
                  <a:ea typeface="MarkPro-Heavy"/>
                  <a:cs typeface="MarkPro-Heavy"/>
                  <a:sym typeface="MarkPro-Heavy"/>
                </a:rPr>
                <a:t>150 </a:t>
              </a:r>
            </a:p>
            <a:p>
              <a:pPr algn="ctr">
                <a:lnSpc>
                  <a:spcPct val="80000"/>
                </a:lnSpc>
                <a:defRPr sz="1400" cap="all" spc="-1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1867">
                  <a:latin typeface="MarkPro-Heavy"/>
                  <a:ea typeface="MarkPro-Heavy"/>
                  <a:cs typeface="MarkPro-Heavy"/>
                  <a:sym typeface="MarkPro-Heavy"/>
                </a:rPr>
                <a:t>million </a:t>
              </a:r>
            </a:p>
            <a:p>
              <a:pPr algn="ctr">
                <a:lnSpc>
                  <a:spcPct val="130000"/>
                </a:lnSpc>
                <a:defRPr sz="1400" cap="all" spc="-1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1867">
                  <a:latin typeface="MarkPro-Heavy"/>
                  <a:ea typeface="MarkPro-Heavy"/>
                  <a:cs typeface="MarkPro-Heavy"/>
                  <a:sym typeface="MarkPro-Heavy"/>
                </a:rPr>
                <a:t>journeys</a:t>
              </a:r>
            </a:p>
          </p:txBody>
        </p:sp>
        <p:sp>
          <p:nvSpPr>
            <p:cNvPr id="377" name="Shape 377"/>
            <p:cNvSpPr/>
            <p:nvPr/>
          </p:nvSpPr>
          <p:spPr>
            <a:xfrm>
              <a:off x="134647" y="1606135"/>
              <a:ext cx="1815449" cy="10947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rmAutofit/>
            </a:bodyPr>
            <a:lstStyle/>
            <a:p>
              <a:pPr algn="ctr">
                <a:lnSpc>
                  <a:spcPct val="90000"/>
                </a:lnSpc>
                <a:defRPr sz="3800" cap="all" spc="-4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4400" spc="-55" dirty="0">
                  <a:latin typeface="MarkPro-Heavy"/>
                  <a:ea typeface="MarkPro-Heavy"/>
                  <a:cs typeface="MarkPro-Heavy"/>
                  <a:sym typeface="MarkPro-Heavy"/>
                </a:rPr>
                <a:t>13.000</a:t>
              </a:r>
              <a:r>
                <a:rPr sz="5067" dirty="0">
                  <a:latin typeface="MarkPro-Heavy"/>
                  <a:ea typeface="MarkPro-Heavy"/>
                  <a:cs typeface="MarkPro-Heavy"/>
                  <a:sym typeface="MarkPro-Heavy"/>
                </a:rPr>
                <a:t> </a:t>
              </a:r>
            </a:p>
            <a:p>
              <a:pPr algn="ctr">
                <a:lnSpc>
                  <a:spcPct val="90000"/>
                </a:lnSpc>
                <a:defRPr sz="2000" cap="all" spc="-25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2667" dirty="0"/>
                <a:t>cabs</a:t>
              </a:r>
            </a:p>
          </p:txBody>
        </p:sp>
        <p:sp>
          <p:nvSpPr>
            <p:cNvPr id="378" name="Shape 378"/>
            <p:cNvSpPr/>
            <p:nvPr/>
          </p:nvSpPr>
          <p:spPr>
            <a:xfrm>
              <a:off x="184594" y="2622089"/>
              <a:ext cx="1715555" cy="4913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rmAutofit/>
            </a:bodyPr>
            <a:lstStyle/>
            <a:p>
              <a:pPr lvl="1" algn="ctr">
                <a:lnSpc>
                  <a:spcPct val="90000"/>
                </a:lnSpc>
                <a:defRPr sz="2400" cap="all" spc="-30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200">
                  <a:latin typeface="MarkPro-Heavy"/>
                  <a:ea typeface="MarkPro-Heavy"/>
                  <a:cs typeface="MarkPro-Heavy"/>
                  <a:sym typeface="MarkPro-Heavy"/>
                </a:rPr>
                <a:t>1 year</a:t>
              </a:r>
            </a:p>
          </p:txBody>
        </p:sp>
      </p:grpSp>
      <p:grpSp>
        <p:nvGrpSpPr>
          <p:cNvPr id="383" name="Group 383"/>
          <p:cNvGrpSpPr/>
          <p:nvPr/>
        </p:nvGrpSpPr>
        <p:grpSpPr>
          <a:xfrm>
            <a:off x="4689238" y="1230488"/>
            <a:ext cx="2813527" cy="7387675"/>
            <a:chOff x="0" y="0"/>
            <a:chExt cx="2110144" cy="5540754"/>
          </a:xfrm>
        </p:grpSpPr>
        <p:sp>
          <p:nvSpPr>
            <p:cNvPr id="380" name="Shape 380"/>
            <p:cNvSpPr/>
            <p:nvPr/>
          </p:nvSpPr>
          <p:spPr>
            <a:xfrm>
              <a:off x="0" y="0"/>
              <a:ext cx="2110144" cy="3297767"/>
            </a:xfrm>
            <a:prstGeom prst="roundRect">
              <a:avLst>
                <a:gd name="adj" fmla="val 9813"/>
              </a:avLst>
            </a:prstGeom>
            <a:solidFill>
              <a:srgbClr val="000000">
                <a:alpha val="77865"/>
              </a:srgbClr>
            </a:solidFill>
            <a:ln w="38100" cap="flat">
              <a:solidFill>
                <a:srgbClr val="FFFFFF">
                  <a:alpha val="77865"/>
                </a:srgbClr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endParaRPr sz="2400" dirty="0"/>
            </a:p>
          </p:txBody>
        </p:sp>
        <p:sp>
          <p:nvSpPr>
            <p:cNvPr id="381" name="Shape 381"/>
            <p:cNvSpPr/>
            <p:nvPr/>
          </p:nvSpPr>
          <p:spPr>
            <a:xfrm>
              <a:off x="147620" y="659205"/>
              <a:ext cx="1803875" cy="48815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rmAutofit/>
            </a:bodyPr>
            <a:lstStyle/>
            <a:p>
              <a:pPr algn="ctr">
                <a:lnSpc>
                  <a:spcPct val="30000"/>
                </a:lnSpc>
                <a:defRPr sz="4300" cap="all" spc="-53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7200" dirty="0">
                  <a:latin typeface="MarkPro-Heavy"/>
                  <a:ea typeface="MarkPro-Heavy"/>
                  <a:cs typeface="MarkPro-Heavy"/>
                  <a:sym typeface="MarkPro-Heavy"/>
                </a:rPr>
                <a:t>95% </a:t>
              </a:r>
              <a:r>
                <a:rPr lang="de-DE" sz="7200" dirty="0">
                  <a:latin typeface="MarkPro-Heavy"/>
                  <a:ea typeface="MarkPro-Heavy"/>
                  <a:cs typeface="MarkPro-Heavy"/>
                  <a:sym typeface="MarkPro-Heavy"/>
                </a:rPr>
                <a:t/>
              </a:r>
              <a:br>
                <a:rPr lang="de-DE" sz="7200" dirty="0">
                  <a:latin typeface="MarkPro-Heavy"/>
                  <a:ea typeface="MarkPro-Heavy"/>
                  <a:cs typeface="MarkPro-Heavy"/>
                  <a:sym typeface="MarkPro-Heavy"/>
                </a:rPr>
              </a:br>
              <a:endParaRPr sz="5733" dirty="0">
                <a:latin typeface="MarkPro-Heavy"/>
                <a:ea typeface="MarkPro-Heavy"/>
                <a:cs typeface="MarkPro-Heavy"/>
                <a:sym typeface="MarkPro-Heavy"/>
              </a:endParaRPr>
            </a:p>
            <a:p>
              <a:pPr algn="ctr">
                <a:lnSpc>
                  <a:spcPct val="80000"/>
                </a:lnSpc>
                <a:defRPr sz="2800" cap="all" spc="-35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733" dirty="0"/>
                <a:t>could</a:t>
              </a:r>
            </a:p>
            <a:p>
              <a:pPr algn="ctr">
                <a:lnSpc>
                  <a:spcPct val="80000"/>
                </a:lnSpc>
                <a:defRPr sz="2800" cap="all" spc="-35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733" dirty="0"/>
                <a:t>have</a:t>
              </a:r>
            </a:p>
            <a:p>
              <a:pPr algn="ctr">
                <a:lnSpc>
                  <a:spcPct val="80000"/>
                </a:lnSpc>
                <a:defRPr sz="2800" cap="all" spc="-35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733" dirty="0"/>
                <a:t>been</a:t>
              </a:r>
            </a:p>
            <a:p>
              <a:pPr algn="ctr">
                <a:lnSpc>
                  <a:spcPct val="80000"/>
                </a:lnSpc>
                <a:defRPr sz="2800" cap="all" spc="-35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733" dirty="0"/>
                <a:t>shared</a:t>
              </a:r>
            </a:p>
          </p:txBody>
        </p:sp>
        <p:sp>
          <p:nvSpPr>
            <p:cNvPr id="382" name="Shape 382"/>
            <p:cNvSpPr/>
            <p:nvPr/>
          </p:nvSpPr>
          <p:spPr>
            <a:xfrm>
              <a:off x="148762" y="2634971"/>
              <a:ext cx="1803875" cy="5233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60959" tIns="60959" rIns="60959" bIns="60959" numCol="1" anchor="t">
              <a:spAutoFit/>
            </a:bodyPr>
            <a:lstStyle>
              <a:lvl1pPr algn="ctr">
                <a:defRPr sz="14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lvl1pPr>
            </a:lstStyle>
            <a:p>
              <a:r>
                <a:rPr sz="1867"/>
                <a:t>with less than 3 minutes delay</a:t>
              </a:r>
            </a:p>
          </p:txBody>
        </p:sp>
      </p:grpSp>
      <p:grpSp>
        <p:nvGrpSpPr>
          <p:cNvPr id="387" name="Group 387"/>
          <p:cNvGrpSpPr/>
          <p:nvPr/>
        </p:nvGrpSpPr>
        <p:grpSpPr>
          <a:xfrm>
            <a:off x="8181803" y="1225770"/>
            <a:ext cx="2813528" cy="6701260"/>
            <a:chOff x="0" y="0"/>
            <a:chExt cx="2110144" cy="5025943"/>
          </a:xfrm>
        </p:grpSpPr>
        <p:sp>
          <p:nvSpPr>
            <p:cNvPr id="384" name="Shape 384"/>
            <p:cNvSpPr/>
            <p:nvPr/>
          </p:nvSpPr>
          <p:spPr>
            <a:xfrm>
              <a:off x="0" y="0"/>
              <a:ext cx="2110144" cy="3297767"/>
            </a:xfrm>
            <a:prstGeom prst="roundRect">
              <a:avLst>
                <a:gd name="adj" fmla="val 9813"/>
              </a:avLst>
            </a:prstGeom>
            <a:solidFill>
              <a:srgbClr val="000000">
                <a:alpha val="77865"/>
              </a:srgbClr>
            </a:solidFill>
            <a:ln w="38100" cap="flat">
              <a:solidFill>
                <a:srgbClr val="FFFFFF">
                  <a:alpha val="77865"/>
                </a:srgbClr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endParaRPr sz="2400"/>
            </a:p>
          </p:txBody>
        </p:sp>
        <p:sp>
          <p:nvSpPr>
            <p:cNvPr id="385" name="Shape 385"/>
            <p:cNvSpPr/>
            <p:nvPr/>
          </p:nvSpPr>
          <p:spPr>
            <a:xfrm>
              <a:off x="34541" y="144394"/>
              <a:ext cx="2015662" cy="48815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normAutofit/>
            </a:bodyPr>
            <a:lstStyle/>
            <a:p>
              <a:pPr algn="ctr">
                <a:lnSpc>
                  <a:spcPct val="90000"/>
                </a:lnSpc>
                <a:defRPr sz="3800" cap="all" spc="-4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8266" spc="-103">
                  <a:latin typeface="MarkPro-Heavy"/>
                  <a:ea typeface="MarkPro-Heavy"/>
                  <a:cs typeface="MarkPro-Heavy"/>
                  <a:sym typeface="MarkPro-Heavy"/>
                </a:rPr>
                <a:t>60</a:t>
              </a:r>
              <a:r>
                <a:rPr sz="5067">
                  <a:latin typeface="MarkPro-Heavy"/>
                  <a:ea typeface="MarkPro-Heavy"/>
                  <a:cs typeface="MarkPro-Heavy"/>
                  <a:sym typeface="MarkPro-Heavy"/>
                </a:rPr>
                <a:t> </a:t>
              </a:r>
            </a:p>
            <a:p>
              <a:pPr algn="ctr">
                <a:lnSpc>
                  <a:spcPct val="80000"/>
                </a:lnSpc>
                <a:defRPr sz="1400" cap="all" spc="-1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1867">
                  <a:latin typeface="MarkPro-Heavy"/>
                  <a:ea typeface="MarkPro-Heavy"/>
                  <a:cs typeface="MarkPro-Heavy"/>
                  <a:sym typeface="MarkPro-Heavy"/>
                </a:rPr>
                <a:t>million </a:t>
              </a:r>
            </a:p>
            <a:p>
              <a:pPr algn="ctr">
                <a:lnSpc>
                  <a:spcPct val="130000"/>
                </a:lnSpc>
                <a:defRPr sz="1400" cap="all" spc="-17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1867">
                  <a:latin typeface="MarkPro-Heavy"/>
                  <a:ea typeface="MarkPro-Heavy"/>
                  <a:cs typeface="MarkPro-Heavy"/>
                  <a:sym typeface="MarkPro-Heavy"/>
                </a:rPr>
                <a:t>journeys</a:t>
              </a:r>
            </a:p>
            <a:p>
              <a:pPr algn="ctr">
                <a:lnSpc>
                  <a:spcPct val="80000"/>
                </a:lnSpc>
                <a:defRPr sz="2500" cap="all" spc="-31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333"/>
                <a:t>could</a:t>
              </a:r>
            </a:p>
            <a:p>
              <a:pPr algn="ctr">
                <a:lnSpc>
                  <a:spcPct val="80000"/>
                </a:lnSpc>
                <a:defRPr sz="2500" cap="all" spc="-31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333"/>
                <a:t>have</a:t>
              </a:r>
            </a:p>
            <a:p>
              <a:pPr algn="ctr">
                <a:lnSpc>
                  <a:spcPct val="80000"/>
                </a:lnSpc>
                <a:defRPr sz="2500" cap="all" spc="-31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pPr>
              <a:r>
                <a:rPr sz="3333"/>
                <a:t>been cut</a:t>
              </a:r>
            </a:p>
          </p:txBody>
        </p:sp>
        <p:sp>
          <p:nvSpPr>
            <p:cNvPr id="386" name="Shape 386"/>
            <p:cNvSpPr/>
            <p:nvPr/>
          </p:nvSpPr>
          <p:spPr>
            <a:xfrm>
              <a:off x="712956" y="2753464"/>
              <a:ext cx="658832" cy="3970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60959" tIns="60959" rIns="60959" bIns="60959" numCol="1" anchor="t">
              <a:spAutoFit/>
            </a:bodyPr>
            <a:lstStyle>
              <a:lvl1pPr algn="ctr">
                <a:lnSpc>
                  <a:spcPct val="110000"/>
                </a:lnSpc>
                <a:defRPr cap="all" spc="-22">
                  <a:solidFill>
                    <a:srgbClr val="FFFFFF"/>
                  </a:solidFill>
                  <a:latin typeface="MarkPro-Book"/>
                  <a:ea typeface="MarkPro-Book"/>
                  <a:cs typeface="MarkPro-Book"/>
                  <a:sym typeface="MarkPro-Book"/>
                </a:defRPr>
              </a:lvl1pPr>
            </a:lstStyle>
            <a:p>
              <a:r>
                <a:rPr sz="2400"/>
                <a:t>(40%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01682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699" advTm="91015">
        <p:dissolve/>
      </p:transition>
    </mc:Choice>
    <mc:Fallback>
      <p:transition spd="med" advTm="91015">
        <p:dissolve/>
      </p:transition>
    </mc:Fallback>
  </mc:AlternateContent>
  <p:timing>
    <p:tnLst>
      <p:par>
        <p:cTn id="1" dur="indefinite" restart="never" fill="hold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andy_Moia_V1.jpg" descr="Handy_Moia_V1.jpg"/>
          <p:cNvPicPr>
            <a:picLocks noChangeAspect="1"/>
          </p:cNvPicPr>
          <p:nvPr/>
        </p:nvPicPr>
        <p:blipFill rotWithShape="1">
          <a:blip r:embed="rId2">
            <a:extLst/>
          </a:blip>
          <a:srcRect l="25729" t="1" r="25222" b="-3119"/>
          <a:stretch/>
        </p:blipFill>
        <p:spPr>
          <a:xfrm>
            <a:off x="12662" y="0"/>
            <a:ext cx="5075226" cy="7113438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-3121050" y="4077072"/>
            <a:ext cx="11017250" cy="2627312"/>
          </a:xfrm>
        </p:spPr>
        <p:txBody>
          <a:bodyPr/>
          <a:lstStyle/>
          <a:p>
            <a:pPr algn="ctr"/>
            <a:r>
              <a:rPr lang="en-GB" sz="4800">
                <a:solidFill>
                  <a:schemeClr val="bg1"/>
                </a:solidFill>
              </a:rPr>
              <a:t>ON DEMAND </a:t>
            </a:r>
            <a:br>
              <a:rPr lang="en-GB" sz="4800">
                <a:solidFill>
                  <a:schemeClr val="bg1"/>
                </a:solidFill>
              </a:rPr>
            </a:br>
            <a:r>
              <a:rPr lang="en-GB" sz="4800">
                <a:solidFill>
                  <a:schemeClr val="bg1"/>
                </a:solidFill>
              </a:rPr>
              <a:t>SHUTTLE</a:t>
            </a:r>
            <a:endParaRPr lang="en-GB" sz="4800" dirty="0">
              <a:solidFill>
                <a:schemeClr val="bg1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5" name="Oval 4"/>
          <p:cNvSpPr/>
          <p:nvPr/>
        </p:nvSpPr>
        <p:spPr bwMode="auto">
          <a:xfrm>
            <a:off x="9881417" y="2060848"/>
            <a:ext cx="1102382" cy="1102382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rtlCol="0" anchor="ctr"/>
          <a:lstStyle/>
          <a:p>
            <a:pPr algn="ctr">
              <a:spcBef>
                <a:spcPct val="0"/>
              </a:spcBef>
              <a:buClr>
                <a:srgbClr val="009DD7"/>
              </a:buClr>
            </a:pPr>
            <a:r>
              <a:rPr lang="de-DE" sz="1000" b="1" dirty="0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Plan </a:t>
            </a:r>
            <a:r>
              <a:rPr lang="de-DE" sz="1000" b="1" dirty="0" err="1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for</a:t>
            </a:r>
            <a:r>
              <a:rPr lang="de-DE" sz="1000" b="1" dirty="0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 2019:</a:t>
            </a:r>
          </a:p>
          <a:p>
            <a:pPr algn="ctr">
              <a:spcBef>
                <a:spcPct val="0"/>
              </a:spcBef>
              <a:buClr>
                <a:srgbClr val="009DD7"/>
              </a:buClr>
            </a:pPr>
            <a:r>
              <a:rPr lang="de-DE" b="1" dirty="0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1.000</a:t>
            </a:r>
          </a:p>
          <a:p>
            <a:pPr algn="ctr">
              <a:spcBef>
                <a:spcPct val="0"/>
              </a:spcBef>
              <a:buClr>
                <a:srgbClr val="009DD7"/>
              </a:buClr>
            </a:pPr>
            <a:r>
              <a:rPr lang="de-DE" sz="1000" b="1" dirty="0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Shuttle </a:t>
            </a:r>
            <a:r>
              <a:rPr lang="de-DE" sz="1000" b="1" dirty="0" err="1">
                <a:solidFill>
                  <a:srgbClr val="FFFFFF"/>
                </a:solidFill>
                <a:latin typeface="Mark Pro" charset="0"/>
                <a:ea typeface="Mark Pro" charset="0"/>
                <a:cs typeface="Mark Pro" charset="0"/>
              </a:rPr>
              <a:t>Vehicles</a:t>
            </a:r>
            <a:endParaRPr lang="de-DE" sz="1000" b="1" dirty="0">
              <a:solidFill>
                <a:srgbClr val="FFFFFF"/>
              </a:solidFill>
              <a:latin typeface="Mark Pro" charset="0"/>
              <a:ea typeface="Mark Pro" charset="0"/>
              <a:cs typeface="Mark Pro" charset="0"/>
            </a:endParaRPr>
          </a:p>
        </p:txBody>
      </p:sp>
      <p:grpSp>
        <p:nvGrpSpPr>
          <p:cNvPr id="6" name="Group 66"/>
          <p:cNvGrpSpPr/>
          <p:nvPr/>
        </p:nvGrpSpPr>
        <p:grpSpPr>
          <a:xfrm>
            <a:off x="6850742" y="3690029"/>
            <a:ext cx="3425618" cy="820890"/>
            <a:chOff x="6794056" y="1179488"/>
            <a:chExt cx="3425618" cy="820890"/>
          </a:xfrm>
        </p:grpSpPr>
        <p:sp>
          <p:nvSpPr>
            <p:cNvPr id="7" name="Textplatzhalter 1"/>
            <p:cNvSpPr txBox="1">
              <a:spLocks/>
            </p:cNvSpPr>
            <p:nvPr/>
          </p:nvSpPr>
          <p:spPr>
            <a:xfrm>
              <a:off x="6794056" y="1179488"/>
              <a:ext cx="3425618" cy="55399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1000" b="0" kern="1200" cap="all" baseline="0" dirty="0" smtClean="0">
                  <a:solidFill>
                    <a:schemeClr val="accent4"/>
                  </a:solidFill>
                  <a:latin typeface="+mj-lt"/>
                  <a:ea typeface="+mn-ea"/>
                  <a:cs typeface="+mn-cs"/>
                </a:defRPr>
              </a:lvl1pPr>
              <a:lvl2pPr marL="10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4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5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3600" b="1" dirty="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-1,2% CITY CO</a:t>
              </a:r>
              <a:r>
                <a:rPr lang="de-DE" sz="3600" b="1" baseline="-25000" dirty="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2</a:t>
              </a:r>
            </a:p>
          </p:txBody>
        </p:sp>
        <p:sp>
          <p:nvSpPr>
            <p:cNvPr id="8" name="Textplatzhalter 1"/>
            <p:cNvSpPr txBox="1">
              <a:spLocks/>
            </p:cNvSpPr>
            <p:nvPr/>
          </p:nvSpPr>
          <p:spPr>
            <a:xfrm>
              <a:off x="6794056" y="1723379"/>
              <a:ext cx="2678618" cy="2769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1000" b="0" kern="1200" cap="all" baseline="0" dirty="0" smtClean="0">
                  <a:solidFill>
                    <a:schemeClr val="accent4"/>
                  </a:solidFill>
                  <a:latin typeface="+mj-lt"/>
                  <a:ea typeface="+mn-ea"/>
                  <a:cs typeface="+mn-cs"/>
                </a:defRPr>
              </a:lvl1pPr>
              <a:lvl2pPr marL="10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4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5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800" b="1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Per 1.000 SHUTTLES</a:t>
              </a:r>
              <a:r>
                <a:rPr lang="de-DE" sz="1800" b="1" baseline="3000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2,3</a:t>
              </a:r>
            </a:p>
          </p:txBody>
        </p:sp>
      </p:grpSp>
      <p:grpSp>
        <p:nvGrpSpPr>
          <p:cNvPr id="10" name="Group 69"/>
          <p:cNvGrpSpPr/>
          <p:nvPr/>
        </p:nvGrpSpPr>
        <p:grpSpPr>
          <a:xfrm>
            <a:off x="6850742" y="4878163"/>
            <a:ext cx="3435237" cy="925534"/>
            <a:chOff x="6728844" y="1025561"/>
            <a:chExt cx="2131539" cy="925534"/>
          </a:xfrm>
        </p:grpSpPr>
        <p:sp>
          <p:nvSpPr>
            <p:cNvPr id="11" name="Textplatzhalter 1"/>
            <p:cNvSpPr txBox="1">
              <a:spLocks/>
            </p:cNvSpPr>
            <p:nvPr/>
          </p:nvSpPr>
          <p:spPr>
            <a:xfrm>
              <a:off x="6728844" y="1025561"/>
              <a:ext cx="2131539" cy="55399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1000" b="0" kern="1200" cap="all" baseline="0" dirty="0" smtClean="0">
                  <a:solidFill>
                    <a:schemeClr val="accent4"/>
                  </a:solidFill>
                  <a:latin typeface="+mj-lt"/>
                  <a:ea typeface="+mn-ea"/>
                  <a:cs typeface="+mn-cs"/>
                </a:defRPr>
              </a:lvl1pPr>
              <a:lvl2pPr marL="10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4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5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3600" b="1" dirty="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-1,2% CITY </a:t>
              </a:r>
              <a:r>
                <a:rPr lang="de-DE" sz="3600" b="1" dirty="0" err="1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NO</a:t>
              </a:r>
              <a:r>
                <a:rPr lang="de-DE" sz="3600" b="1" cap="none" baseline="-25000" dirty="0" err="1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x</a:t>
              </a:r>
              <a:endParaRPr lang="de-DE" sz="3600" b="1" baseline="-25000" dirty="0">
                <a:solidFill>
                  <a:srgbClr val="0A2737"/>
                </a:solidFill>
                <a:latin typeface="Mark Pro" charset="0"/>
                <a:ea typeface="Mark Pro" charset="0"/>
                <a:cs typeface="Mark Pro" charset="0"/>
              </a:endParaRPr>
            </a:p>
          </p:txBody>
        </p:sp>
        <p:sp>
          <p:nvSpPr>
            <p:cNvPr id="12" name="Textplatzhalter 1"/>
            <p:cNvSpPr txBox="1">
              <a:spLocks/>
            </p:cNvSpPr>
            <p:nvPr/>
          </p:nvSpPr>
          <p:spPr>
            <a:xfrm>
              <a:off x="6728844" y="1674096"/>
              <a:ext cx="1662063" cy="2769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1000" b="0" kern="1200" cap="all" baseline="0" dirty="0" smtClean="0">
                  <a:solidFill>
                    <a:schemeClr val="accent4"/>
                  </a:solidFill>
                  <a:latin typeface="+mj-lt"/>
                  <a:ea typeface="+mn-ea"/>
                  <a:cs typeface="+mn-cs"/>
                </a:defRPr>
              </a:lvl1pPr>
              <a:lvl2pPr marL="10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4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5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800" b="1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Per 1.000 SHUTTLES</a:t>
              </a:r>
              <a:r>
                <a:rPr lang="de-DE" sz="1800" b="1" baseline="3000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2,3</a:t>
              </a:r>
            </a:p>
          </p:txBody>
        </p:sp>
      </p:grpSp>
      <p:grpSp>
        <p:nvGrpSpPr>
          <p:cNvPr id="13" name="Group 75"/>
          <p:cNvGrpSpPr/>
          <p:nvPr/>
        </p:nvGrpSpPr>
        <p:grpSpPr>
          <a:xfrm>
            <a:off x="6850742" y="2664987"/>
            <a:ext cx="2241659" cy="658132"/>
            <a:chOff x="6708837" y="986882"/>
            <a:chExt cx="1725525" cy="658132"/>
          </a:xfrm>
        </p:grpSpPr>
        <p:grpSp>
          <p:nvGrpSpPr>
            <p:cNvPr id="14" name="Group 76"/>
            <p:cNvGrpSpPr/>
            <p:nvPr/>
          </p:nvGrpSpPr>
          <p:grpSpPr>
            <a:xfrm>
              <a:off x="6708837" y="986882"/>
              <a:ext cx="1725525" cy="658132"/>
              <a:chOff x="736940" y="2802804"/>
              <a:chExt cx="1725525" cy="658132"/>
            </a:xfrm>
          </p:grpSpPr>
          <p:sp>
            <p:nvSpPr>
              <p:cNvPr id="16" name="Textplatzhalter 1"/>
              <p:cNvSpPr txBox="1">
                <a:spLocks/>
              </p:cNvSpPr>
              <p:nvPr/>
            </p:nvSpPr>
            <p:spPr>
              <a:xfrm>
                <a:off x="736940" y="2906938"/>
                <a:ext cx="1204303" cy="553998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lang="en-US" sz="1000" b="0" kern="1200" cap="all" baseline="0" dirty="0" smtClean="0">
                    <a:solidFill>
                      <a:schemeClr val="accent4"/>
                    </a:solidFill>
                    <a:latin typeface="+mj-lt"/>
                    <a:ea typeface="+mn-ea"/>
                    <a:cs typeface="+mn-cs"/>
                  </a:defRPr>
                </a:lvl1pPr>
                <a:lvl2pPr marL="108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16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24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432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40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648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56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864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3600" b="1" dirty="0">
                    <a:solidFill>
                      <a:srgbClr val="0A2737"/>
                    </a:solidFill>
                    <a:latin typeface="Mark Pro" charset="0"/>
                    <a:ea typeface="Mark Pro" charset="0"/>
                    <a:cs typeface="Mark Pro" charset="0"/>
                  </a:rPr>
                  <a:t>-9.000</a:t>
                </a:r>
                <a:endParaRPr lang="de-DE" sz="3600" b="1" baseline="30000" dirty="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endParaRPr>
              </a:p>
            </p:txBody>
          </p:sp>
          <p:sp>
            <p:nvSpPr>
              <p:cNvPr id="17" name="Textplatzhalter 1"/>
              <p:cNvSpPr txBox="1">
                <a:spLocks/>
              </p:cNvSpPr>
              <p:nvPr/>
            </p:nvSpPr>
            <p:spPr>
              <a:xfrm>
                <a:off x="2214934" y="2802804"/>
                <a:ext cx="247531" cy="23117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lang="en-US" sz="1000" b="0" kern="1200" cap="all" baseline="0" dirty="0" smtClean="0">
                    <a:solidFill>
                      <a:schemeClr val="accent4"/>
                    </a:solidFill>
                    <a:latin typeface="+mj-lt"/>
                    <a:ea typeface="+mn-ea"/>
                    <a:cs typeface="+mn-cs"/>
                  </a:defRPr>
                </a:lvl1pPr>
                <a:lvl2pPr marL="108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16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24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432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40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648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56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864000" indent="-108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0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DE" sz="1800" b="1" dirty="0">
                    <a:solidFill>
                      <a:srgbClr val="0A2737"/>
                    </a:solidFill>
                    <a:latin typeface="Mark Pro" charset="0"/>
                    <a:ea typeface="Mark Pro" charset="0"/>
                    <a:cs typeface="Mark Pro" charset="0"/>
                  </a:rPr>
                  <a:t>Cars </a:t>
                </a:r>
                <a:br>
                  <a:rPr lang="de-DE" sz="1800" b="1" dirty="0">
                    <a:solidFill>
                      <a:srgbClr val="0A2737"/>
                    </a:solidFill>
                    <a:latin typeface="Mark Pro" charset="0"/>
                    <a:ea typeface="Mark Pro" charset="0"/>
                    <a:cs typeface="Mark Pro" charset="0"/>
                  </a:rPr>
                </a:br>
                <a:r>
                  <a:rPr lang="de-DE" sz="1800" b="1" dirty="0">
                    <a:solidFill>
                      <a:srgbClr val="0A2737"/>
                    </a:solidFill>
                    <a:latin typeface="Mark Pro" charset="0"/>
                    <a:ea typeface="Mark Pro" charset="0"/>
                    <a:cs typeface="Mark Pro" charset="0"/>
                  </a:rPr>
                  <a:t>PER </a:t>
                </a:r>
                <a:endParaRPr lang="de-DE" sz="1800" b="1" baseline="30000" dirty="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endParaRPr>
              </a:p>
            </p:txBody>
          </p:sp>
        </p:grpSp>
        <p:sp>
          <p:nvSpPr>
            <p:cNvPr id="15" name="Textplatzhalter 1"/>
            <p:cNvSpPr txBox="1">
              <a:spLocks/>
            </p:cNvSpPr>
            <p:nvPr/>
          </p:nvSpPr>
          <p:spPr>
            <a:xfrm>
              <a:off x="7872832" y="1543816"/>
              <a:ext cx="552939" cy="101198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lang="en-US" sz="1000" b="0" kern="1200" cap="all" baseline="0" dirty="0" smtClean="0">
                  <a:solidFill>
                    <a:schemeClr val="accent4"/>
                  </a:solidFill>
                  <a:latin typeface="+mj-lt"/>
                  <a:ea typeface="+mn-ea"/>
                  <a:cs typeface="+mn-cs"/>
                </a:defRPr>
              </a:lvl1pPr>
              <a:lvl2pPr marL="10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2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3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4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5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1800" b="1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1.000 SHUTTLES</a:t>
              </a:r>
              <a:r>
                <a:rPr lang="de-DE" sz="1800" b="1" baseline="30000">
                  <a:solidFill>
                    <a:srgbClr val="0A2737"/>
                  </a:solidFill>
                  <a:latin typeface="Mark Pro" charset="0"/>
                  <a:ea typeface="Mark Pro" charset="0"/>
                  <a:cs typeface="Mark Pro" charset="0"/>
                </a:rPr>
                <a:t>2</a:t>
              </a:r>
            </a:p>
          </p:txBody>
        </p:sp>
      </p:grpSp>
      <p:sp>
        <p:nvSpPr>
          <p:cNvPr id="18" name="Textplatzhalter 1"/>
          <p:cNvSpPr txBox="1">
            <a:spLocks/>
          </p:cNvSpPr>
          <p:nvPr/>
        </p:nvSpPr>
        <p:spPr>
          <a:xfrm>
            <a:off x="5673672" y="2161342"/>
            <a:ext cx="2465419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00" b="0" kern="1200" cap="all" baseline="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>
                <a:solidFill>
                  <a:srgbClr val="0A2737"/>
                </a:solidFill>
                <a:latin typeface="Mark Pro" charset="0"/>
                <a:ea typeface="Mark Pro" charset="0"/>
                <a:cs typeface="Mark Pro" charset="0"/>
              </a:rPr>
              <a:t>The "MOIA </a:t>
            </a:r>
            <a:r>
              <a:rPr lang="de-DE" sz="1600" b="1" dirty="0" err="1">
                <a:solidFill>
                  <a:srgbClr val="0A2737"/>
                </a:solidFill>
                <a:latin typeface="Mark Pro" charset="0"/>
                <a:ea typeface="Mark Pro" charset="0"/>
                <a:cs typeface="Mark Pro" charset="0"/>
              </a:rPr>
              <a:t>Effect</a:t>
            </a:r>
            <a:r>
              <a:rPr lang="de-DE" sz="1600" b="1" dirty="0">
                <a:solidFill>
                  <a:srgbClr val="0A2737"/>
                </a:solidFill>
                <a:latin typeface="Mark Pro" charset="0"/>
                <a:ea typeface="Mark Pro" charset="0"/>
                <a:cs typeface="Mark Pro" charset="0"/>
              </a:rPr>
              <a:t>" in </a:t>
            </a:r>
            <a:endParaRPr lang="de-DE" sz="1600" b="1" baseline="30000" dirty="0">
              <a:solidFill>
                <a:srgbClr val="0A2737"/>
              </a:solidFill>
              <a:latin typeface="Mark Pro" charset="0"/>
              <a:ea typeface="Mark Pro" charset="0"/>
              <a:cs typeface="Mark Pro" charset="0"/>
            </a:endParaRPr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3861910"/>
            <a:ext cx="826431" cy="826431"/>
          </a:xfrm>
          <a:prstGeom prst="rect">
            <a:avLst/>
          </a:prstGeom>
        </p:spPr>
      </p:pic>
      <p:pic>
        <p:nvPicPr>
          <p:cNvPr id="21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2748438"/>
            <a:ext cx="826431" cy="827576"/>
          </a:xfrm>
          <a:prstGeom prst="rect">
            <a:avLst/>
          </a:prstGeom>
        </p:spPr>
      </p:pic>
      <p:pic>
        <p:nvPicPr>
          <p:cNvPr id="22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4977266"/>
            <a:ext cx="826431" cy="826431"/>
          </a:xfrm>
          <a:prstGeom prst="rect">
            <a:avLst/>
          </a:prstGeom>
        </p:spPr>
      </p:pic>
      <p:sp>
        <p:nvSpPr>
          <p:cNvPr id="23" name="Titel 1"/>
          <p:cNvSpPr txBox="1">
            <a:spLocks/>
          </p:cNvSpPr>
          <p:nvPr/>
        </p:nvSpPr>
        <p:spPr bwMode="gray">
          <a:xfrm>
            <a:off x="5231905" y="980728"/>
            <a:ext cx="6372720" cy="7207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 cap="all" spc="-11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2pPr>
            <a:lvl3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3pPr>
            <a:lvl4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4pPr>
            <a:lvl5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5pPr>
            <a:lvl6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6pPr>
            <a:lvl7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7pPr>
            <a:lvl8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8pPr>
            <a:lvl9pPr>
              <a:lnSpc>
                <a:spcPct val="90000"/>
              </a:lnSpc>
              <a:defRPr sz="6000" kern="1200" spc="-110" baseline="0">
                <a:solidFill>
                  <a:schemeClr val="bg2"/>
                </a:solidFill>
                <a:latin typeface="+mj-lt"/>
              </a:defRPr>
            </a:lvl9pPr>
          </a:lstStyle>
          <a:p>
            <a:pPr algn="ctr" defTabSz="609585">
              <a:defRPr sz="2600" cap="all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</a:defRPr>
            </a:pPr>
            <a:r>
              <a:rPr lang="de-DE" sz="3467" dirty="0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Shuttle-on-</a:t>
            </a:r>
            <a:r>
              <a:rPr lang="de-DE" sz="3467" dirty="0" err="1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demand</a:t>
            </a:r>
            <a:r>
              <a:rPr lang="de-DE" sz="3467" dirty="0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 </a:t>
            </a:r>
            <a:r>
              <a:rPr lang="de-DE" sz="3467" dirty="0" err="1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has</a:t>
            </a:r>
            <a:r>
              <a:rPr lang="de-DE" sz="3467" dirty="0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 </a:t>
            </a:r>
            <a:r>
              <a:rPr lang="de-DE" sz="3467" dirty="0" err="1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the</a:t>
            </a:r>
            <a:r>
              <a:rPr lang="de-DE" sz="3467" dirty="0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 MOST SIGNIFICANT </a:t>
            </a:r>
            <a:r>
              <a:rPr lang="de-DE" sz="3467" dirty="0" err="1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impact</a:t>
            </a:r>
            <a:r>
              <a:rPr lang="de-DE" sz="3467" dirty="0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 on urban </a:t>
            </a:r>
            <a:r>
              <a:rPr lang="de-DE" sz="3467" dirty="0" err="1">
                <a:solidFill>
                  <a:srgbClr val="535353"/>
                </a:solidFill>
                <a:uFill>
                  <a:solidFill>
                    <a:srgbClr val="0069D9"/>
                  </a:solidFill>
                </a:uFill>
                <a:latin typeface="MarkPro" charset="0"/>
                <a:ea typeface="MarkPro" charset="0"/>
                <a:cs typeface="MarkPro" charset="0"/>
                <a:sym typeface="+mj-lt"/>
              </a:rPr>
              <a:t>traffic</a:t>
            </a:r>
            <a:endParaRPr lang="de-DE" sz="3467" dirty="0">
              <a:solidFill>
                <a:srgbClr val="535353"/>
              </a:solidFill>
              <a:uFill>
                <a:solidFill>
                  <a:srgbClr val="0069D9"/>
                </a:solidFill>
              </a:uFill>
              <a:latin typeface="MarkPro" charset="0"/>
              <a:ea typeface="MarkPro" charset="0"/>
              <a:cs typeface="MarkPro" charset="0"/>
            </a:endParaRPr>
          </a:p>
        </p:txBody>
      </p:sp>
      <p:sp>
        <p:nvSpPr>
          <p:cNvPr id="24" name="Textplatzhalter 4"/>
          <p:cNvSpPr txBox="1">
            <a:spLocks/>
          </p:cNvSpPr>
          <p:nvPr/>
        </p:nvSpPr>
        <p:spPr>
          <a:xfrm>
            <a:off x="5125256" y="6304755"/>
            <a:ext cx="5904656" cy="358962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612000" indent="-216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+mj-lt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baseline="30000" dirty="0"/>
              <a:t>1 </a:t>
            </a:r>
            <a:r>
              <a:rPr lang="en-GB" sz="800" dirty="0"/>
              <a:t>Mobility in Germany 2008: Modal Split in Hamburg;</a:t>
            </a:r>
            <a:br>
              <a:rPr lang="en-GB" sz="800" dirty="0"/>
            </a:br>
            <a:r>
              <a:rPr lang="en-GB" sz="800" baseline="30000" dirty="0"/>
              <a:t>2</a:t>
            </a:r>
            <a:r>
              <a:rPr lang="en-GB" sz="800" dirty="0"/>
              <a:t> First estimation: Substitution rom </a:t>
            </a:r>
            <a:r>
              <a:rPr lang="de-DE" sz="800" dirty="0"/>
              <a:t>6.000 </a:t>
            </a:r>
            <a:r>
              <a:rPr lang="de-DE" sz="800" dirty="0" err="1"/>
              <a:t>to</a:t>
            </a:r>
            <a:r>
              <a:rPr lang="de-DE" sz="800" dirty="0"/>
              <a:t> 12.000 </a:t>
            </a:r>
            <a:r>
              <a:rPr lang="de-DE" sz="800" dirty="0" err="1"/>
              <a:t>cars</a:t>
            </a:r>
            <a:r>
              <a:rPr lang="de-DE" sz="800" dirty="0"/>
              <a:t> </a:t>
            </a:r>
            <a:r>
              <a:rPr lang="de-DE" sz="800" dirty="0" err="1"/>
              <a:t>or</a:t>
            </a:r>
            <a:r>
              <a:rPr lang="de-DE" sz="800" dirty="0"/>
              <a:t> 0,8% </a:t>
            </a:r>
            <a:r>
              <a:rPr lang="de-DE" sz="800" dirty="0" err="1"/>
              <a:t>to</a:t>
            </a:r>
            <a:r>
              <a:rPr lang="de-DE" sz="800" dirty="0"/>
              <a:t> 1,6% </a:t>
            </a:r>
            <a:r>
              <a:rPr lang="de-DE" sz="800" dirty="0" err="1"/>
              <a:t>of</a:t>
            </a:r>
            <a:r>
              <a:rPr lang="de-DE" sz="800" dirty="0"/>
              <a:t> </a:t>
            </a:r>
            <a:r>
              <a:rPr lang="de-DE" sz="800" dirty="0" err="1"/>
              <a:t>overall</a:t>
            </a:r>
            <a:r>
              <a:rPr lang="de-DE" sz="800" dirty="0"/>
              <a:t> </a:t>
            </a:r>
            <a:r>
              <a:rPr lang="de-DE" sz="800" dirty="0" err="1"/>
              <a:t>emission</a:t>
            </a:r>
            <a:r>
              <a:rPr lang="de-DE" sz="800" dirty="0"/>
              <a:t> </a:t>
            </a:r>
            <a:r>
              <a:rPr lang="de-DE" sz="800" dirty="0" err="1"/>
              <a:t>caused</a:t>
            </a:r>
            <a:r>
              <a:rPr lang="de-DE" sz="800" dirty="0"/>
              <a:t> </a:t>
            </a:r>
            <a:r>
              <a:rPr lang="de-DE" sz="800" dirty="0" err="1"/>
              <a:t>by</a:t>
            </a:r>
            <a:r>
              <a:rPr lang="de-DE" sz="800" dirty="0"/>
              <a:t> </a:t>
            </a:r>
            <a:r>
              <a:rPr lang="de-DE" sz="800" dirty="0" err="1"/>
              <a:t>innercity</a:t>
            </a:r>
            <a:r>
              <a:rPr lang="de-DE" sz="800" dirty="0"/>
              <a:t> </a:t>
            </a:r>
            <a:r>
              <a:rPr lang="de-DE" sz="800" dirty="0" err="1"/>
              <a:t>car</a:t>
            </a:r>
            <a:r>
              <a:rPr lang="de-DE" sz="800" dirty="0"/>
              <a:t> </a:t>
            </a:r>
            <a:r>
              <a:rPr lang="de-DE" sz="800" dirty="0" err="1"/>
              <a:t>traffic</a:t>
            </a:r>
            <a:r>
              <a:rPr lang="de-DE" sz="800" dirty="0"/>
              <a:t> </a:t>
            </a:r>
            <a:br>
              <a:rPr lang="de-DE" sz="800" dirty="0"/>
            </a:br>
            <a:r>
              <a:rPr lang="de-DE" sz="800" baseline="30000" dirty="0"/>
              <a:t>3</a:t>
            </a:r>
            <a:r>
              <a:rPr lang="de-DE" sz="800" dirty="0"/>
              <a:t> Emission </a:t>
            </a:r>
            <a:r>
              <a:rPr lang="de-DE" sz="800" dirty="0" err="1"/>
              <a:t>through</a:t>
            </a:r>
            <a:r>
              <a:rPr lang="de-DE" sz="800" dirty="0"/>
              <a:t> </a:t>
            </a:r>
            <a:r>
              <a:rPr lang="de-DE" sz="800" dirty="0" err="1"/>
              <a:t>electricity</a:t>
            </a:r>
            <a:r>
              <a:rPr lang="de-DE" sz="800" dirty="0"/>
              <a:t> </a:t>
            </a:r>
            <a:r>
              <a:rPr lang="de-DE" sz="800" dirty="0" err="1"/>
              <a:t>generation</a:t>
            </a:r>
            <a:r>
              <a:rPr lang="de-DE" sz="800" dirty="0"/>
              <a:t> </a:t>
            </a:r>
            <a:r>
              <a:rPr lang="de-DE" sz="800" dirty="0" err="1"/>
              <a:t>for</a:t>
            </a:r>
            <a:r>
              <a:rPr lang="de-DE" sz="800" dirty="0"/>
              <a:t> MOIA On-Demand-Shuttle not </a:t>
            </a:r>
            <a:r>
              <a:rPr lang="de-DE" sz="800" dirty="0" err="1"/>
              <a:t>included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557019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3841"/>
    </mc:Choice>
    <mc:Fallback>
      <p:transition spd="slow" advTm="63841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fferent </a:t>
            </a:r>
            <a:r>
              <a:rPr lang="de-DE" dirty="0" err="1"/>
              <a:t>life</a:t>
            </a:r>
            <a:r>
              <a:rPr lang="de-DE" dirty="0"/>
              <a:t> </a:t>
            </a:r>
            <a:r>
              <a:rPr lang="de-DE" dirty="0" err="1"/>
              <a:t>phases</a:t>
            </a:r>
            <a:r>
              <a:rPr lang="de-DE" dirty="0"/>
              <a:t> </a:t>
            </a:r>
            <a:r>
              <a:rPr lang="de-DE" dirty="0" smtClean="0"/>
              <a:t>bring a </a:t>
            </a:r>
            <a:r>
              <a:rPr lang="de-DE" dirty="0" err="1" smtClean="0"/>
              <a:t>Huge</a:t>
            </a:r>
            <a:r>
              <a:rPr lang="de-DE" dirty="0" smtClean="0"/>
              <a:t> potential </a:t>
            </a:r>
            <a:r>
              <a:rPr lang="de-DE" dirty="0" err="1" smtClean="0"/>
              <a:t>for</a:t>
            </a:r>
            <a:r>
              <a:rPr lang="de-DE" dirty="0" smtClean="0"/>
              <a:t> different MODE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obility</a:t>
            </a:r>
            <a:r>
              <a:rPr lang="de-DE" dirty="0" smtClean="0"/>
              <a:t> </a:t>
            </a:r>
            <a:r>
              <a:rPr lang="de-DE" dirty="0" err="1" smtClean="0"/>
              <a:t>solution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0EDB8-5305-433F-BE41-D7A86D811DB3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8" name="Pentagon 78"/>
          <p:cNvSpPr/>
          <p:nvPr/>
        </p:nvSpPr>
        <p:spPr bwMode="gray">
          <a:xfrm>
            <a:off x="9499509" y="2564904"/>
            <a:ext cx="2094323" cy="504056"/>
          </a:xfrm>
          <a:prstGeom prst="rect">
            <a:avLst/>
          </a:prstGeom>
          <a:solidFill>
            <a:srgbClr val="0A2737"/>
          </a:solidFill>
          <a:ln w="952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180000" tIns="72000" rIns="90000" bIns="72000"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Aft>
                <a:spcPts val="600"/>
              </a:spcAft>
              <a:defRPr/>
            </a:pPr>
            <a:r>
              <a:rPr lang="en-US" sz="1200" spc="31" dirty="0">
                <a:solidFill>
                  <a:prstClr val="white"/>
                </a:solidFill>
                <a:latin typeface="Arial"/>
              </a:rPr>
              <a:t>Retiree</a:t>
            </a:r>
          </a:p>
        </p:txBody>
      </p:sp>
      <p:sp>
        <p:nvSpPr>
          <p:cNvPr id="9" name="Pentagon 79"/>
          <p:cNvSpPr/>
          <p:nvPr/>
        </p:nvSpPr>
        <p:spPr bwMode="gray">
          <a:xfrm>
            <a:off x="7514507" y="2564904"/>
            <a:ext cx="2094323" cy="504056"/>
          </a:xfrm>
          <a:prstGeom prst="homePlate">
            <a:avLst>
              <a:gd name="adj" fmla="val 35295"/>
            </a:avLst>
          </a:prstGeom>
          <a:solidFill>
            <a:srgbClr val="0A2737"/>
          </a:solidFill>
          <a:ln w="952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180000" tIns="72000" rIns="90000" bIns="72000"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Aft>
                <a:spcPts val="600"/>
              </a:spcAft>
              <a:defRPr/>
            </a:pPr>
            <a:r>
              <a:rPr lang="en-US" sz="1200" spc="31" dirty="0">
                <a:solidFill>
                  <a:prstClr val="white"/>
                </a:solidFill>
                <a:latin typeface="Arial"/>
              </a:rPr>
              <a:t>Old adult</a:t>
            </a:r>
          </a:p>
        </p:txBody>
      </p:sp>
      <p:sp>
        <p:nvSpPr>
          <p:cNvPr id="10" name="Pentagon 80"/>
          <p:cNvSpPr/>
          <p:nvPr/>
        </p:nvSpPr>
        <p:spPr bwMode="gray">
          <a:xfrm>
            <a:off x="5529504" y="2564904"/>
            <a:ext cx="2094323" cy="504056"/>
          </a:xfrm>
          <a:prstGeom prst="homePlate">
            <a:avLst>
              <a:gd name="adj" fmla="val 35295"/>
            </a:avLst>
          </a:prstGeom>
          <a:solidFill>
            <a:srgbClr val="0A2737"/>
          </a:solidFill>
          <a:ln w="952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180000" tIns="72000" rIns="90000" bIns="72000"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Aft>
                <a:spcPts val="600"/>
              </a:spcAft>
              <a:defRPr/>
            </a:pPr>
            <a:r>
              <a:rPr lang="en-US" sz="1200" spc="31" dirty="0">
                <a:solidFill>
                  <a:prstClr val="white"/>
                </a:solidFill>
                <a:latin typeface="Arial"/>
              </a:rPr>
              <a:t>Parent</a:t>
            </a:r>
          </a:p>
        </p:txBody>
      </p:sp>
      <p:sp>
        <p:nvSpPr>
          <p:cNvPr id="11" name="Pentagon 81"/>
          <p:cNvSpPr/>
          <p:nvPr/>
        </p:nvSpPr>
        <p:spPr bwMode="gray">
          <a:xfrm>
            <a:off x="3544501" y="2564904"/>
            <a:ext cx="2094323" cy="504056"/>
          </a:xfrm>
          <a:prstGeom prst="homePlate">
            <a:avLst>
              <a:gd name="adj" fmla="val 35295"/>
            </a:avLst>
          </a:prstGeom>
          <a:solidFill>
            <a:srgbClr val="0A2737"/>
          </a:solidFill>
          <a:ln w="952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180000" tIns="72000" rIns="90000" bIns="72000"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Aft>
                <a:spcPts val="600"/>
              </a:spcAft>
              <a:defRPr/>
            </a:pPr>
            <a:r>
              <a:rPr lang="en-US" sz="1200" spc="31" dirty="0">
                <a:solidFill>
                  <a:prstClr val="white"/>
                </a:solidFill>
                <a:latin typeface="Arial"/>
              </a:rPr>
              <a:t>Adult</a:t>
            </a:r>
          </a:p>
        </p:txBody>
      </p:sp>
      <p:sp>
        <p:nvSpPr>
          <p:cNvPr id="12" name="Pentagon 82"/>
          <p:cNvSpPr/>
          <p:nvPr/>
        </p:nvSpPr>
        <p:spPr bwMode="gray">
          <a:xfrm>
            <a:off x="1559497" y="2564904"/>
            <a:ext cx="2094323" cy="504056"/>
          </a:xfrm>
          <a:prstGeom prst="homePlate">
            <a:avLst>
              <a:gd name="adj" fmla="val 35295"/>
            </a:avLst>
          </a:prstGeom>
          <a:solidFill>
            <a:srgbClr val="0A2737"/>
          </a:solidFill>
          <a:ln w="952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108000" tIns="72000" rIns="90000" bIns="72000"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spcAft>
                <a:spcPts val="600"/>
              </a:spcAft>
              <a:defRPr/>
            </a:pPr>
            <a:r>
              <a:rPr lang="en-US" sz="1200" spc="31" dirty="0">
                <a:solidFill>
                  <a:prstClr val="white"/>
                </a:solidFill>
                <a:latin typeface="Arial"/>
              </a:rPr>
              <a:t>Young adult</a:t>
            </a: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/>
          </p:nvPr>
        </p:nvGraphicFramePr>
        <p:xfrm>
          <a:off x="587377" y="3068960"/>
          <a:ext cx="10994775" cy="29159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72120"/>
                <a:gridCol w="1958400"/>
                <a:gridCol w="1990800"/>
                <a:gridCol w="1980000"/>
                <a:gridCol w="1980000"/>
                <a:gridCol w="2113455"/>
              </a:tblGrid>
              <a:tr h="583183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/>
                        <a:t>WALK</a:t>
                      </a:r>
                      <a:endParaRPr lang="de-DE" sz="11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3183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/>
                        <a:t>BIKE</a:t>
                      </a:r>
                      <a:endParaRPr lang="de-DE" sz="11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3183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/>
                        <a:t>PUBLIC TRANSPORT</a:t>
                      </a:r>
                      <a:endParaRPr lang="de-DE" sz="11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583183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/>
                        <a:t>SHARED MOBILITY</a:t>
                      </a:r>
                      <a:endParaRPr lang="de-DE" sz="11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800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583183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/>
                        <a:t>VEHICLE OWNERSHIP</a:t>
                      </a:r>
                      <a:endParaRPr lang="de-DE" sz="1100" b="1" dirty="0"/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5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" name="Graphic 133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43"/>
              </a:ext>
            </a:extLst>
          </a:blip>
          <a:stretch>
            <a:fillRect/>
          </a:stretch>
        </p:blipFill>
        <p:spPr bwMode="gray">
          <a:xfrm>
            <a:off x="2444694" y="2074980"/>
            <a:ext cx="195591" cy="432000"/>
          </a:xfrm>
          <a:prstGeom prst="rect">
            <a:avLst/>
          </a:prstGeom>
        </p:spPr>
      </p:pic>
      <p:pic>
        <p:nvPicPr>
          <p:cNvPr id="22" name="Graphic 131"/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="" xmlns:asvg="http://schemas.microsoft.com/office/drawing/2016/SVG/main" r:embed="rId39"/>
              </a:ext>
            </a:extLst>
          </a:blip>
          <a:stretch>
            <a:fillRect/>
          </a:stretch>
        </p:blipFill>
        <p:spPr bwMode="gray">
          <a:xfrm>
            <a:off x="6223899" y="1966980"/>
            <a:ext cx="673448" cy="540000"/>
          </a:xfrm>
          <a:prstGeom prst="rect">
            <a:avLst/>
          </a:prstGeom>
        </p:spPr>
      </p:pic>
      <p:pic>
        <p:nvPicPr>
          <p:cNvPr id="23" name="Graphic 133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43"/>
              </a:ext>
            </a:extLst>
          </a:blip>
          <a:stretch>
            <a:fillRect/>
          </a:stretch>
        </p:blipFill>
        <p:spPr bwMode="gray">
          <a:xfrm>
            <a:off x="8407339" y="1966980"/>
            <a:ext cx="244488" cy="540000"/>
          </a:xfrm>
          <a:prstGeom prst="rect">
            <a:avLst/>
          </a:prstGeom>
        </p:spPr>
      </p:pic>
      <p:pic>
        <p:nvPicPr>
          <p:cNvPr id="24" name="Graphic 132"/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="" xmlns:asvg="http://schemas.microsoft.com/office/drawing/2016/SVG/main" r:embed="rId41"/>
              </a:ext>
            </a:extLst>
          </a:blip>
          <a:stretch>
            <a:fillRect/>
          </a:stretch>
        </p:blipFill>
        <p:spPr bwMode="gray">
          <a:xfrm>
            <a:off x="10458823" y="1966980"/>
            <a:ext cx="271944" cy="540000"/>
          </a:xfrm>
          <a:prstGeom prst="rect">
            <a:avLst/>
          </a:prstGeom>
        </p:spPr>
      </p:pic>
      <p:grpSp>
        <p:nvGrpSpPr>
          <p:cNvPr id="4" name="Gruppierung 3"/>
          <p:cNvGrpSpPr/>
          <p:nvPr/>
        </p:nvGrpSpPr>
        <p:grpSpPr>
          <a:xfrm>
            <a:off x="4287333" y="1959486"/>
            <a:ext cx="469680" cy="547495"/>
            <a:chOff x="4451707" y="1945947"/>
            <a:chExt cx="469680" cy="547495"/>
          </a:xfrm>
        </p:grpSpPr>
        <p:pic>
          <p:nvPicPr>
            <p:cNvPr id="19" name="Graphic 131"/>
            <p:cNvPicPr>
              <a:picLocks noChangeAspect="1"/>
            </p:cNvPicPr>
            <p:nvPr/>
          </p:nvPicPr>
          <p:blipFill rotWithShape="1">
            <a:blip r:embed="rId44">
              <a:extLst>
                <a:ext uri="{96DAC541-7B7A-43D3-8B79-37D633B846F1}">
                  <asvg:svgBlip xmlns="" xmlns:asvg="http://schemas.microsoft.com/office/drawing/2016/SVG/main" r:embed="rId39"/>
                </a:ext>
              </a:extLst>
            </a:blip>
            <a:srcRect r="62776"/>
            <a:stretch/>
          </p:blipFill>
          <p:spPr bwMode="gray">
            <a:xfrm>
              <a:off x="4451707" y="1953442"/>
              <a:ext cx="250682" cy="540000"/>
            </a:xfrm>
            <a:prstGeom prst="rect">
              <a:avLst/>
            </a:prstGeom>
          </p:spPr>
        </p:pic>
        <p:pic>
          <p:nvPicPr>
            <p:cNvPr id="25" name="Graphic 133"/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 bwMode="gray">
            <a:xfrm>
              <a:off x="4676899" y="1945947"/>
              <a:ext cx="244488" cy="540000"/>
            </a:xfrm>
            <a:prstGeom prst="rect">
              <a:avLst/>
            </a:prstGeom>
          </p:spPr>
        </p:pic>
      </p:grpSp>
      <p:pic>
        <p:nvPicPr>
          <p:cNvPr id="41" name="Graphic 36"/>
          <p:cNvPicPr>
            <a:picLocks noChangeAspect="1"/>
          </p:cNvPicPr>
          <p:nvPr/>
        </p:nvPicPr>
        <p:blipFill>
          <a:blip r:embed="rId46">
            <a:biLevel thresh="25000"/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 bwMode="gray">
          <a:xfrm>
            <a:off x="2174990" y="4925472"/>
            <a:ext cx="734999" cy="360000"/>
          </a:xfrm>
          <a:prstGeom prst="rect">
            <a:avLst/>
          </a:prstGeom>
          <a:ln>
            <a:noFill/>
          </a:ln>
        </p:spPr>
      </p:pic>
      <p:pic>
        <p:nvPicPr>
          <p:cNvPr id="42" name="Graphic 36"/>
          <p:cNvPicPr>
            <a:picLocks noChangeAspect="1"/>
          </p:cNvPicPr>
          <p:nvPr/>
        </p:nvPicPr>
        <p:blipFill>
          <a:blip r:embed="rId46">
            <a:biLevel thresh="25000"/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 bwMode="gray">
          <a:xfrm>
            <a:off x="4170518" y="4925472"/>
            <a:ext cx="734999" cy="360000"/>
          </a:xfrm>
          <a:prstGeom prst="rect">
            <a:avLst/>
          </a:prstGeom>
          <a:ln>
            <a:noFill/>
          </a:ln>
        </p:spPr>
      </p:pic>
      <p:pic>
        <p:nvPicPr>
          <p:cNvPr id="43" name="Graphic 36"/>
          <p:cNvPicPr>
            <a:picLocks noChangeAspect="1"/>
          </p:cNvPicPr>
          <p:nvPr/>
        </p:nvPicPr>
        <p:blipFill>
          <a:blip r:embed="rId46">
            <a:biLevel thresh="25000"/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 bwMode="gray">
          <a:xfrm>
            <a:off x="10227297" y="4925472"/>
            <a:ext cx="734999" cy="360000"/>
          </a:xfrm>
          <a:prstGeom prst="rect">
            <a:avLst/>
          </a:prstGeom>
          <a:ln>
            <a:noFill/>
          </a:ln>
        </p:spPr>
      </p:pic>
      <p:pic>
        <p:nvPicPr>
          <p:cNvPr id="44" name="Graphic 17"/>
          <p:cNvPicPr>
            <a:picLocks noChangeAspect="1"/>
          </p:cNvPicPr>
          <p:nvPr/>
        </p:nvPicPr>
        <p:blipFill>
          <a:blip r:embed="rId47">
            <a:biLevel thresh="25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 bwMode="gray">
          <a:xfrm>
            <a:off x="2254488" y="4308872"/>
            <a:ext cx="576000" cy="360000"/>
          </a:xfrm>
          <a:prstGeom prst="rect">
            <a:avLst/>
          </a:prstGeom>
        </p:spPr>
      </p:pic>
      <p:pic>
        <p:nvPicPr>
          <p:cNvPr id="45" name="Graphic 17"/>
          <p:cNvPicPr>
            <a:picLocks noChangeAspect="1"/>
          </p:cNvPicPr>
          <p:nvPr/>
        </p:nvPicPr>
        <p:blipFill>
          <a:blip r:embed="rId47">
            <a:biLevel thresh="25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 bwMode="gray">
          <a:xfrm>
            <a:off x="4250015" y="4308872"/>
            <a:ext cx="576000" cy="360000"/>
          </a:xfrm>
          <a:prstGeom prst="rect">
            <a:avLst/>
          </a:prstGeom>
        </p:spPr>
      </p:pic>
      <p:pic>
        <p:nvPicPr>
          <p:cNvPr id="47" name="Graphic 17"/>
          <p:cNvPicPr>
            <a:picLocks noChangeAspect="1"/>
          </p:cNvPicPr>
          <p:nvPr/>
        </p:nvPicPr>
        <p:blipFill>
          <a:blip r:embed="rId47">
            <a:biLevel thresh="25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 bwMode="gray">
          <a:xfrm>
            <a:off x="8241583" y="4308872"/>
            <a:ext cx="576000" cy="360000"/>
          </a:xfrm>
          <a:prstGeom prst="rect">
            <a:avLst/>
          </a:prstGeom>
        </p:spPr>
      </p:pic>
      <p:pic>
        <p:nvPicPr>
          <p:cNvPr id="48" name="Graphic 17"/>
          <p:cNvPicPr>
            <a:picLocks noChangeAspect="1"/>
          </p:cNvPicPr>
          <p:nvPr/>
        </p:nvPicPr>
        <p:blipFill>
          <a:blip r:embed="rId47">
            <a:biLevel thresh="25000"/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 bwMode="gray">
          <a:xfrm>
            <a:off x="10306795" y="4308872"/>
            <a:ext cx="576000" cy="360000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/>
        </p:nvPicPr>
        <p:blipFill>
          <a:blip r:embed="rId48">
            <a:biLevel thresh="25000"/>
          </a:blip>
          <a:stretch>
            <a:fillRect/>
          </a:stretch>
        </p:blipFill>
        <p:spPr>
          <a:xfrm>
            <a:off x="4160873" y="5509288"/>
            <a:ext cx="754287" cy="360000"/>
          </a:xfrm>
          <a:prstGeom prst="rect">
            <a:avLst/>
          </a:prstGeom>
        </p:spPr>
      </p:pic>
      <p:pic>
        <p:nvPicPr>
          <p:cNvPr id="53" name="Bild 52"/>
          <p:cNvPicPr>
            <a:picLocks noChangeAspect="1"/>
          </p:cNvPicPr>
          <p:nvPr/>
        </p:nvPicPr>
        <p:blipFill>
          <a:blip r:embed="rId48">
            <a:biLevel thresh="25000"/>
          </a:blip>
          <a:stretch>
            <a:fillRect/>
          </a:stretch>
        </p:blipFill>
        <p:spPr>
          <a:xfrm>
            <a:off x="6183479" y="5509288"/>
            <a:ext cx="754287" cy="360000"/>
          </a:xfrm>
          <a:prstGeom prst="rect">
            <a:avLst/>
          </a:prstGeom>
        </p:spPr>
      </p:pic>
      <p:pic>
        <p:nvPicPr>
          <p:cNvPr id="54" name="Bild 53"/>
          <p:cNvPicPr>
            <a:picLocks noChangeAspect="1"/>
          </p:cNvPicPr>
          <p:nvPr/>
        </p:nvPicPr>
        <p:blipFill>
          <a:blip r:embed="rId48">
            <a:biLevel thresh="25000"/>
          </a:blip>
          <a:stretch>
            <a:fillRect/>
          </a:stretch>
        </p:blipFill>
        <p:spPr>
          <a:xfrm>
            <a:off x="8152441" y="5509288"/>
            <a:ext cx="754287" cy="360000"/>
          </a:xfrm>
          <a:prstGeom prst="rect">
            <a:avLst/>
          </a:prstGeom>
        </p:spPr>
      </p:pic>
      <p:pic>
        <p:nvPicPr>
          <p:cNvPr id="29" name="Graphic 3"/>
          <p:cNvPicPr>
            <a:picLocks noChangeAspect="1"/>
          </p:cNvPicPr>
          <p:nvPr/>
        </p:nvPicPr>
        <p:blipFill>
          <a:blip r:embed="rId49">
            <a:biLevel thresh="25000"/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254488" y="3749961"/>
            <a:ext cx="576000" cy="360000"/>
          </a:xfrm>
          <a:prstGeom prst="rect">
            <a:avLst/>
          </a:prstGeom>
        </p:spPr>
      </p:pic>
      <p:pic>
        <p:nvPicPr>
          <p:cNvPr id="30" name="Picture 34">
            <a:extLst>
              <a:ext uri="{FF2B5EF4-FFF2-40B4-BE49-F238E27FC236}">
                <a16:creationId xmlns="" xmlns:a16="http://schemas.microsoft.com/office/drawing/2014/main" id="{DD57C8C0-1174-4FC2-9F6A-997B528E4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57" y="3170519"/>
            <a:ext cx="243265" cy="3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Graphic 3"/>
          <p:cNvPicPr>
            <a:picLocks noChangeAspect="1"/>
          </p:cNvPicPr>
          <p:nvPr/>
        </p:nvPicPr>
        <p:blipFill>
          <a:blip r:embed="rId49">
            <a:biLevel thresh="25000"/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250015" y="3749961"/>
            <a:ext cx="576000" cy="360000"/>
          </a:xfrm>
          <a:prstGeom prst="rect">
            <a:avLst/>
          </a:prstGeom>
        </p:spPr>
      </p:pic>
      <p:pic>
        <p:nvPicPr>
          <p:cNvPr id="32" name="Graphic 3"/>
          <p:cNvPicPr>
            <a:picLocks noChangeAspect="1"/>
          </p:cNvPicPr>
          <p:nvPr/>
        </p:nvPicPr>
        <p:blipFill>
          <a:blip r:embed="rId49">
            <a:biLevel thresh="25000"/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272623" y="3749961"/>
            <a:ext cx="576000" cy="360000"/>
          </a:xfrm>
          <a:prstGeom prst="rect">
            <a:avLst/>
          </a:prstGeom>
        </p:spPr>
      </p:pic>
      <p:pic>
        <p:nvPicPr>
          <p:cNvPr id="34" name="Picture 34">
            <a:extLst>
              <a:ext uri="{FF2B5EF4-FFF2-40B4-BE49-F238E27FC236}">
                <a16:creationId xmlns="" xmlns:a16="http://schemas.microsoft.com/office/drawing/2014/main" id="{DD57C8C0-1174-4FC2-9F6A-997B528E4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6385" y="3170519"/>
            <a:ext cx="243265" cy="3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34">
            <a:extLst>
              <a:ext uri="{FF2B5EF4-FFF2-40B4-BE49-F238E27FC236}">
                <a16:creationId xmlns="" xmlns:a16="http://schemas.microsoft.com/office/drawing/2014/main" id="{DD57C8C0-1174-4FC2-9F6A-997B528E4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89" y="3151491"/>
            <a:ext cx="243265" cy="3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53059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97732">
        <p:fade/>
      </p:transition>
    </mc:Choice>
    <mc:Fallback>
      <p:transition spd="med" advTm="97732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1a15d498f26b9241d1ec79eecab62c090d15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IA-STRATEGY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noProof="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noProof="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OIA_Template_07_EXP" id="{71D62B1B-2D83-4C40-BFDF-9BEDCB14BD35}" vid="{8791025F-FEAB-4B98-942F-C8C6BF3E096B}"/>
    </a:ext>
  </a:extLst>
</a:theme>
</file>

<file path=ppt/theme/theme10.xml><?xml version="1.0" encoding="utf-8"?>
<a:theme xmlns:a="http://schemas.openxmlformats.org/drawingml/2006/main" name="Office Theme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Larissa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IA - MARKETING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noProof="0" dirty="0" err="1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noProof="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OIA_Template_07_EXP" id="{71D62B1B-2D83-4C40-BFDF-9BEDCB14BD35}" vid="{EF360E5D-EBC0-4FD7-BDA8-33D7F1ABBD0C}"/>
    </a:ext>
  </a:extLst>
</a:theme>
</file>

<file path=ppt/theme/theme3.xml><?xml version="1.0" encoding="utf-8"?>
<a:theme xmlns:a="http://schemas.openxmlformats.org/drawingml/2006/main" name="MOIA">
  <a:themeElements>
    <a:clrScheme name="MOIA">
      <a:dk1>
        <a:sysClr val="windowText" lastClr="000000"/>
      </a:dk1>
      <a:lt1>
        <a:sysClr val="window" lastClr="FFFFFF"/>
      </a:lt1>
      <a:dk2>
        <a:srgbClr val="009DD7"/>
      </a:dk2>
      <a:lt2>
        <a:srgbClr val="FFFFFF"/>
      </a:lt2>
      <a:accent1>
        <a:srgbClr val="FBC458"/>
      </a:accent1>
      <a:accent2>
        <a:srgbClr val="1AA37F"/>
      </a:accent2>
      <a:accent3>
        <a:srgbClr val="8BC058"/>
      </a:accent3>
      <a:accent4>
        <a:srgbClr val="0A2737"/>
      </a:accent4>
      <a:accent5>
        <a:srgbClr val="FCDE06"/>
      </a:accent5>
      <a:accent6>
        <a:srgbClr val="878787"/>
      </a:accent6>
      <a:hlink>
        <a:srgbClr val="009DD7"/>
      </a:hlink>
      <a:folHlink>
        <a:srgbClr val="A6DDF5"/>
      </a:folHlink>
    </a:clrScheme>
    <a:fontScheme name="Moia">
      <a:majorFont>
        <a:latin typeface="MarkPro-Bold"/>
        <a:ea typeface=""/>
        <a:cs typeface=""/>
      </a:majorFont>
      <a:minorFont>
        <a:latin typeface="Mark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>
          <a:solidFill>
            <a:schemeClr val="accent4"/>
          </a:solidFill>
          <a:miter lim="800000"/>
          <a:headEnd/>
          <a:tailEnd/>
        </a:ln>
        <a:effectLst/>
        <a:extLst/>
      </a:spPr>
      <a:bodyPr wrap="square" lIns="72000" tIns="72000" rIns="72000" bIns="72000" rtlCol="0" anchor="ctr"/>
      <a:lstStyle>
        <a:defPPr marL="171450" indent="-171450" algn="ctr">
          <a:spcBef>
            <a:spcPct val="0"/>
          </a:spcBef>
          <a:buClr>
            <a:schemeClr val="tx2"/>
          </a:buClr>
          <a:buFont typeface="NettoOT" pitchFamily="50" charset="0"/>
          <a:buChar char="&gt;"/>
          <a:defRPr sz="1000" dirty="0" smtClean="0">
            <a:solidFill>
              <a:srgbClr val="000000"/>
            </a:solidFill>
            <a:ea typeface="ＭＳ Ｐゴシック" pitchFamily="34" charset="-128"/>
          </a:defRPr>
        </a:defPPr>
      </a:lst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MOIA">
  <a:themeElements>
    <a:clrScheme name="MOIA">
      <a:dk1>
        <a:sysClr val="windowText" lastClr="000000"/>
      </a:dk1>
      <a:lt1>
        <a:sysClr val="window" lastClr="FFFFFF"/>
      </a:lt1>
      <a:dk2>
        <a:srgbClr val="009DD7"/>
      </a:dk2>
      <a:lt2>
        <a:srgbClr val="FFFFFF"/>
      </a:lt2>
      <a:accent1>
        <a:srgbClr val="FBC458"/>
      </a:accent1>
      <a:accent2>
        <a:srgbClr val="1AA37F"/>
      </a:accent2>
      <a:accent3>
        <a:srgbClr val="8BC058"/>
      </a:accent3>
      <a:accent4>
        <a:srgbClr val="0A2737"/>
      </a:accent4>
      <a:accent5>
        <a:srgbClr val="FCDE06"/>
      </a:accent5>
      <a:accent6>
        <a:srgbClr val="878787"/>
      </a:accent6>
      <a:hlink>
        <a:srgbClr val="009DD7"/>
      </a:hlink>
      <a:folHlink>
        <a:srgbClr val="A6DDF5"/>
      </a:folHlink>
    </a:clrScheme>
    <a:fontScheme name="Moia">
      <a:majorFont>
        <a:latin typeface="MarkPro-Bold"/>
        <a:ea typeface=""/>
        <a:cs typeface=""/>
      </a:majorFont>
      <a:minorFont>
        <a:latin typeface="Mark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>
          <a:solidFill>
            <a:schemeClr val="accent4"/>
          </a:solidFill>
          <a:miter lim="800000"/>
          <a:headEnd/>
          <a:tailEnd/>
        </a:ln>
        <a:effectLst/>
        <a:extLst/>
      </a:spPr>
      <a:bodyPr wrap="square" lIns="72000" tIns="72000" rIns="72000" bIns="72000" rtlCol="0" anchor="ctr"/>
      <a:lstStyle>
        <a:defPPr marL="171450" indent="-171450" algn="ctr">
          <a:spcBef>
            <a:spcPct val="0"/>
          </a:spcBef>
          <a:buClr>
            <a:schemeClr val="tx2"/>
          </a:buClr>
          <a:buFont typeface="NettoOT" pitchFamily="50" charset="0"/>
          <a:buChar char="&gt;"/>
          <a:defRPr sz="1000" dirty="0" smtClean="0">
            <a:solidFill>
              <a:srgbClr val="000000"/>
            </a:solidFill>
            <a:ea typeface="ＭＳ Ｐゴシック" pitchFamily="34" charset="-128"/>
          </a:defRPr>
        </a:defPPr>
      </a:lst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MOIA - MARKETING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8567D3F-A112-4A69-8EFA-103675DC32FF}" vid="{60D32507-FD75-4C09-BABF-A1948E74AC6C}"/>
    </a:ext>
  </a:extLst>
</a:theme>
</file>

<file path=ppt/theme/theme6.xml><?xml version="1.0" encoding="utf-8"?>
<a:theme xmlns:a="http://schemas.openxmlformats.org/drawingml/2006/main" name="2_MOIA - MARKETING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8567D3F-A112-4A69-8EFA-103675DC32FF}" vid="{60D32507-FD75-4C09-BABF-A1948E74AC6C}"/>
    </a:ext>
  </a:extLst>
</a:theme>
</file>

<file path=ppt/theme/theme7.xml><?xml version="1.0" encoding="utf-8"?>
<a:theme xmlns:a="http://schemas.openxmlformats.org/drawingml/2006/main" name="1_MOIA-STRATEGY">
  <a:themeElements>
    <a:clrScheme name="MOIA STRATEGY">
      <a:dk1>
        <a:srgbClr val="000000"/>
      </a:dk1>
      <a:lt1>
        <a:srgbClr val="FFFFFF"/>
      </a:lt1>
      <a:dk2>
        <a:srgbClr val="009DD7"/>
      </a:dk2>
      <a:lt2>
        <a:srgbClr val="0A2737"/>
      </a:lt2>
      <a:accent1>
        <a:srgbClr val="FBC458"/>
      </a:accent1>
      <a:accent2>
        <a:srgbClr val="A5A5A5"/>
      </a:accent2>
      <a:accent3>
        <a:srgbClr val="1AA37F"/>
      </a:accent3>
      <a:accent4>
        <a:srgbClr val="8BC058"/>
      </a:accent4>
      <a:accent5>
        <a:srgbClr val="FCDE06"/>
      </a:accent5>
      <a:accent6>
        <a:srgbClr val="F09DC3"/>
      </a:accent6>
      <a:hlink>
        <a:srgbClr val="0A2737"/>
      </a:hlink>
      <a:folHlink>
        <a:srgbClr val="0A2737"/>
      </a:folHlink>
    </a:clrScheme>
    <a:fontScheme name="MOI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cap="all" spc="3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0" rIns="0" bIns="0" rtlCol="0">
        <a:noAutofit/>
      </a:bodyPr>
      <a:lstStyle>
        <a:defPPr marL="216000" indent="-216000"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8567D3F-A112-4A69-8EFA-103675DC32FF}" vid="{60D32507-FD75-4C09-BABF-A1948E74AC6C}"/>
    </a:ext>
  </a:extLst>
</a:theme>
</file>

<file path=ppt/theme/theme8.xml><?xml version="1.0" encoding="utf-8"?>
<a:theme xmlns:a="http://schemas.openxmlformats.org/drawingml/2006/main" name="2_MOIA">
  <a:themeElements>
    <a:clrScheme name="MOIA">
      <a:dk1>
        <a:sysClr val="windowText" lastClr="000000"/>
      </a:dk1>
      <a:lt1>
        <a:sysClr val="window" lastClr="FFFFFF"/>
      </a:lt1>
      <a:dk2>
        <a:srgbClr val="009DD7"/>
      </a:dk2>
      <a:lt2>
        <a:srgbClr val="FFFFFF"/>
      </a:lt2>
      <a:accent1>
        <a:srgbClr val="FBC458"/>
      </a:accent1>
      <a:accent2>
        <a:srgbClr val="1AA37F"/>
      </a:accent2>
      <a:accent3>
        <a:srgbClr val="8BC058"/>
      </a:accent3>
      <a:accent4>
        <a:srgbClr val="0A2737"/>
      </a:accent4>
      <a:accent5>
        <a:srgbClr val="FCDE06"/>
      </a:accent5>
      <a:accent6>
        <a:srgbClr val="878787"/>
      </a:accent6>
      <a:hlink>
        <a:srgbClr val="009DD7"/>
      </a:hlink>
      <a:folHlink>
        <a:srgbClr val="A6DDF5"/>
      </a:folHlink>
    </a:clrScheme>
    <a:fontScheme name="Moia">
      <a:majorFont>
        <a:latin typeface="MarkPro-Bold"/>
        <a:ea typeface=""/>
        <a:cs typeface=""/>
      </a:majorFont>
      <a:minorFont>
        <a:latin typeface="Mark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>
          <a:solidFill>
            <a:schemeClr val="accent4"/>
          </a:solidFill>
          <a:miter lim="800000"/>
          <a:headEnd/>
          <a:tailEnd/>
        </a:ln>
        <a:effectLst/>
        <a:extLst/>
      </a:spPr>
      <a:bodyPr wrap="square" lIns="72000" tIns="72000" rIns="72000" bIns="72000" rtlCol="0" anchor="ctr"/>
      <a:lstStyle>
        <a:defPPr marL="171450" indent="-171450" algn="ctr">
          <a:spcBef>
            <a:spcPct val="0"/>
          </a:spcBef>
          <a:buClr>
            <a:schemeClr val="tx2"/>
          </a:buClr>
          <a:buFont typeface="NettoOT" pitchFamily="50" charset="0"/>
          <a:buChar char="&gt;"/>
          <a:defRPr sz="1000" dirty="0" smtClean="0">
            <a:solidFill>
              <a:srgbClr val="000000"/>
            </a:solidFill>
            <a:ea typeface="ＭＳ Ｐゴシック" pitchFamily="34" charset="-128"/>
          </a:defRPr>
        </a:defPPr>
      </a:lst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MOIA">
  <a:themeElements>
    <a:clrScheme name="MOIA-def">
      <a:dk1>
        <a:sysClr val="windowText" lastClr="000000"/>
      </a:dk1>
      <a:lt1>
        <a:sysClr val="window" lastClr="FFFFFF"/>
      </a:lt1>
      <a:dk2>
        <a:srgbClr val="009DD7"/>
      </a:dk2>
      <a:lt2>
        <a:srgbClr val="FFFFFF"/>
      </a:lt2>
      <a:accent1>
        <a:srgbClr val="F09DC3"/>
      </a:accent1>
      <a:accent2>
        <a:srgbClr val="1AA37F"/>
      </a:accent2>
      <a:accent3>
        <a:srgbClr val="8BC058"/>
      </a:accent3>
      <a:accent4>
        <a:srgbClr val="0A2737"/>
      </a:accent4>
      <a:accent5>
        <a:srgbClr val="FBC458"/>
      </a:accent5>
      <a:accent6>
        <a:srgbClr val="878787"/>
      </a:accent6>
      <a:hlink>
        <a:srgbClr val="009DD7"/>
      </a:hlink>
      <a:folHlink>
        <a:srgbClr val="A6DDF5"/>
      </a:folHlink>
    </a:clrScheme>
    <a:fontScheme name="Moia">
      <a:majorFont>
        <a:latin typeface="MarkPro-Bold"/>
        <a:ea typeface=""/>
        <a:cs typeface=""/>
      </a:majorFont>
      <a:minorFont>
        <a:latin typeface="Mark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D8DBC0A1-66E1-4B9D-88C2-9B3A32A2147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IA_Template</Template>
  <TotalTime>0</TotalTime>
  <Words>1014</Words>
  <Application>Microsoft Macintosh PowerPoint</Application>
  <PresentationFormat>Widescreen</PresentationFormat>
  <Paragraphs>182</Paragraphs>
  <Slides>12</Slides>
  <Notes>11</Notes>
  <HiddenSlides>0</HiddenSlides>
  <MMClips>1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37" baseType="lpstr">
      <vt:lpstr>Arial Black</vt:lpstr>
      <vt:lpstr>Calibri</vt:lpstr>
      <vt:lpstr>Helvetica Light</vt:lpstr>
      <vt:lpstr>Mark Pro</vt:lpstr>
      <vt:lpstr>MarkPro</vt:lpstr>
      <vt:lpstr>MarkPro-Bold</vt:lpstr>
      <vt:lpstr>MarkPro-Book</vt:lpstr>
      <vt:lpstr>MarkPro-Heavy</vt:lpstr>
      <vt:lpstr>MarkPro-Light</vt:lpstr>
      <vt:lpstr>MarkPro-Medium</vt:lpstr>
      <vt:lpstr>ＭＳ Ｐゴシック</vt:lpstr>
      <vt:lpstr>NettoOT</vt:lpstr>
      <vt:lpstr>Wingdings</vt:lpstr>
      <vt:lpstr>Arial</vt:lpstr>
      <vt:lpstr>MOIA-STRATEGY</vt:lpstr>
      <vt:lpstr>MOIA - MARKETING</vt:lpstr>
      <vt:lpstr>MOIA</vt:lpstr>
      <vt:lpstr>1_MOIA</vt:lpstr>
      <vt:lpstr>1_MOIA - MARKETING</vt:lpstr>
      <vt:lpstr>2_MOIA - MARKETING</vt:lpstr>
      <vt:lpstr>1_MOIA-STRATEGY</vt:lpstr>
      <vt:lpstr>2_MOIA</vt:lpstr>
      <vt:lpstr>3_MOIA</vt:lpstr>
      <vt:lpstr>think-cell Slide</vt:lpstr>
      <vt:lpstr>think-cell Folie</vt:lpstr>
      <vt:lpstr>Redefining URBAN Mobility  </vt:lpstr>
      <vt:lpstr>PowerPoint Presentation</vt:lpstr>
      <vt:lpstr>… And want to transform cities towards a desirable, sustainable future</vt:lpstr>
      <vt:lpstr>PowerPoint Presentation</vt:lpstr>
      <vt:lpstr>There are already several mobility options that aim to reduce urban traffic on the market. </vt:lpstr>
      <vt:lpstr>Ride Pooling will have the most siginificant relieving effects on urban mobility.</vt:lpstr>
      <vt:lpstr>PowerPoint Presentation</vt:lpstr>
      <vt:lpstr>ON DEMAND  SHUTTLE</vt:lpstr>
      <vt:lpstr>different life phases bring a Huge potential for different MODES of mobility solutions</vt:lpstr>
      <vt:lpstr>Interaction needed between all the involved Stakehold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nnis Meseke</dc:creator>
  <cp:lastModifiedBy/>
  <cp:revision>1</cp:revision>
  <cp:lastPrinted>2017-09-22T08:38:38Z</cp:lastPrinted>
  <dcterms:created xsi:type="dcterms:W3CDTF">2017-08-02T09:12:16Z</dcterms:created>
  <dcterms:modified xsi:type="dcterms:W3CDTF">2017-11-12T21:57:0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29239449991</vt:lpwstr>
  </property>
</Properties>
</file>